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modernComment_144_33A518D8.xml" ContentType="application/vnd.ms-powerpoint.comments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comments/modernComment_14D_7AAE638E.xml" ContentType="application/vnd.ms-powerpoint.comments+xml"/>
  <Override PartName="/ppt/notesSlides/notesSlide4.xml" ContentType="application/vnd.openxmlformats-officedocument.presentationml.notesSlide+xml"/>
  <Override PartName="/ppt/comments/modernComment_154_D899D661.xml" ContentType="application/vnd.ms-powerpoint.comments+xml"/>
  <Override PartName="/ppt/notesSlides/notesSlide5.xml" ContentType="application/vnd.openxmlformats-officedocument.presentationml.notesSlide+xml"/>
  <Override PartName="/ppt/comments/modernComment_D07_40CBF804.xml" ContentType="application/vnd.ms-powerpoint.comments+xml"/>
  <Override PartName="/ppt/notesSlides/notesSlide6.xml" ContentType="application/vnd.openxmlformats-officedocument.presentationml.notesSlide+xml"/>
  <Override PartName="/ppt/comments/modernComment_D08_3741B4A5.xml" ContentType="application/vnd.ms-powerpoint.comment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comments/modernComment_D02_AA2A07D9.xml" ContentType="application/vnd.ms-powerpoint.comment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comments/modernComment_D05_10B77F60.xml" ContentType="application/vnd.ms-powerpoint.comment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comments/modernComment_D03_60296219.xml" ContentType="application/vnd.ms-powerpoint.comment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comments/modernComment_174_53956658.xml" ContentType="application/vnd.ms-powerpoint.comments+xml"/>
  <Override PartName="/ppt/comments/modernComment_D04_68EECF60.xml" ContentType="application/vnd.ms-powerpoint.comment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3326" r:id="rId2"/>
    <p:sldId id="3280" r:id="rId3"/>
    <p:sldId id="324" r:id="rId4"/>
    <p:sldId id="333" r:id="rId5"/>
    <p:sldId id="340" r:id="rId6"/>
    <p:sldId id="3335" r:id="rId7"/>
    <p:sldId id="3336" r:id="rId8"/>
    <p:sldId id="259" r:id="rId9"/>
    <p:sldId id="337" r:id="rId10"/>
    <p:sldId id="3330" r:id="rId11"/>
    <p:sldId id="3333" r:id="rId12"/>
    <p:sldId id="3331" r:id="rId13"/>
    <p:sldId id="334" r:id="rId14"/>
    <p:sldId id="372" r:id="rId15"/>
    <p:sldId id="3332" r:id="rId16"/>
    <p:sldId id="3329" r:id="rId17"/>
    <p:sldId id="3327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2F1F5B-0DD6-FB92-74C8-7CC9E7BEEB92}" name="Averill, Charles Alan" initials="AA" userId="S::caverill@deloitte.com::45bd19d9-dee6-442d-abd0-319f6b164f50" providerId="AD"/>
  <p188:author id="{887D8A80-752F-3EDF-EC81-AB0E35DEB497}" name="Zhu, Aaron" initials="ZA" userId="S::aazhu@deloitte.com::79eccb59-c0f8-4541-a452-428dafa76da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E6E0AFD-E0A6-C241-4A4A-583D55C043B1}" v="100" dt="2024-06-14T16:35:49.399"/>
    <p1510:client id="{8795E089-EB37-12EE-F5B8-2D13B071AAE8}" v="129" dt="2024-06-12T18:04:11.149"/>
    <p1510:client id="{89249CF2-2AA8-4E4E-3822-785E59DF2CED}" v="8" dt="2024-06-14T15:47:44.670"/>
    <p1510:client id="{91F6BEAB-5627-4194-AC67-7E4D76659F1A}" v="9" dt="2024-06-14T16:00:24.0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8/10/relationships/authors" Target="authors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verill, Charles Alan" userId="S::caverill@deloitte.com::45bd19d9-dee6-442d-abd0-319f6b164f50" providerId="AD" clId="Web-{8795E089-EB37-12EE-F5B8-2D13B071AAE8}"/>
    <pc:docChg chg="mod addSld delSld modSld">
      <pc:chgData name="Averill, Charles Alan" userId="S::caverill@deloitte.com::45bd19d9-dee6-442d-abd0-319f6b164f50" providerId="AD" clId="Web-{8795E089-EB37-12EE-F5B8-2D13B071AAE8}" dt="2024-06-12T18:04:11.149" v="111"/>
      <pc:docMkLst>
        <pc:docMk/>
      </pc:docMkLst>
      <pc:sldChg chg="mod modShow">
        <pc:chgData name="Averill, Charles Alan" userId="S::caverill@deloitte.com::45bd19d9-dee6-442d-abd0-319f6b164f50" providerId="AD" clId="Web-{8795E089-EB37-12EE-F5B8-2D13B071AAE8}" dt="2024-06-12T17:59:51.651" v="108"/>
        <pc:sldMkLst>
          <pc:docMk/>
          <pc:sldMk cId="3633960545" sldId="340"/>
        </pc:sldMkLst>
      </pc:sldChg>
      <pc:sldChg chg="addSp delSp modSp addCm modCm">
        <pc:chgData name="Averill, Charles Alan" userId="S::caverill@deloitte.com::45bd19d9-dee6-442d-abd0-319f6b164f50" providerId="AD" clId="Web-{8795E089-EB37-12EE-F5B8-2D13B071AAE8}" dt="2024-06-12T17:30:16.872" v="33"/>
        <pc:sldMkLst>
          <pc:docMk/>
          <pc:sldMk cId="1760481120" sldId="3332"/>
        </pc:sldMkLst>
        <pc:spChg chg="mod">
          <ac:chgData name="Averill, Charles Alan" userId="S::caverill@deloitte.com::45bd19d9-dee6-442d-abd0-319f6b164f50" providerId="AD" clId="Web-{8795E089-EB37-12EE-F5B8-2D13B071AAE8}" dt="2024-06-12T17:29:31.701" v="31" actId="1076"/>
          <ac:spMkLst>
            <pc:docMk/>
            <pc:sldMk cId="1760481120" sldId="3332"/>
            <ac:spMk id="7" creationId="{7BA2C5B1-581E-9306-B493-E1748F245E09}"/>
          </ac:spMkLst>
        </pc:spChg>
        <pc:picChg chg="add mod">
          <ac:chgData name="Averill, Charles Alan" userId="S::caverill@deloitte.com::45bd19d9-dee6-442d-abd0-319f6b164f50" providerId="AD" clId="Web-{8795E089-EB37-12EE-F5B8-2D13B071AAE8}" dt="2024-06-12T17:28:23.420" v="24" actId="1076"/>
          <ac:picMkLst>
            <pc:docMk/>
            <pc:sldMk cId="1760481120" sldId="3332"/>
            <ac:picMk id="4" creationId="{13F87B8B-D956-B1FE-869F-D65A202E33CE}"/>
          </ac:picMkLst>
        </pc:picChg>
        <pc:picChg chg="del mod">
          <ac:chgData name="Averill, Charles Alan" userId="S::caverill@deloitte.com::45bd19d9-dee6-442d-abd0-319f6b164f50" providerId="AD" clId="Web-{8795E089-EB37-12EE-F5B8-2D13B071AAE8}" dt="2024-06-12T17:28:26.608" v="25"/>
          <ac:picMkLst>
            <pc:docMk/>
            <pc:sldMk cId="1760481120" sldId="3332"/>
            <ac:picMk id="5" creationId="{8418F2EE-2062-3434-8A58-7C56FD41BE47}"/>
          </ac:picMkLst>
        </pc:picChg>
        <pc:picChg chg="del">
          <ac:chgData name="Averill, Charles Alan" userId="S::caverill@deloitte.com::45bd19d9-dee6-442d-abd0-319f6b164f50" providerId="AD" clId="Web-{8795E089-EB37-12EE-F5B8-2D13B071AAE8}" dt="2024-06-12T17:28:37.186" v="26"/>
          <ac:picMkLst>
            <pc:docMk/>
            <pc:sldMk cId="1760481120" sldId="3332"/>
            <ac:picMk id="6" creationId="{645269C3-3917-DA3A-2D68-BDD0A9AE2031}"/>
          </ac:picMkLst>
        </pc:picChg>
        <pc:picChg chg="add mod">
          <ac:chgData name="Averill, Charles Alan" userId="S::caverill@deloitte.com::45bd19d9-dee6-442d-abd0-319f6b164f50" providerId="AD" clId="Web-{8795E089-EB37-12EE-F5B8-2D13B071AAE8}" dt="2024-06-12T17:29:24.826" v="30" actId="1076"/>
          <ac:picMkLst>
            <pc:docMk/>
            <pc:sldMk cId="1760481120" sldId="3332"/>
            <ac:picMk id="8" creationId="{9EDB3675-38C3-81B2-4790-0F06C2DD5A6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Averill, Charles Alan" userId="S::caverill@deloitte.com::45bd19d9-dee6-442d-abd0-319f6b164f50" providerId="AD" clId="Web-{8795E089-EB37-12EE-F5B8-2D13B071AAE8}" dt="2024-06-12T17:29:59.685" v="32"/>
              <pc2:cmMkLst xmlns:pc2="http://schemas.microsoft.com/office/powerpoint/2019/9/main/command">
                <pc:docMk/>
                <pc:sldMk cId="1760481120" sldId="3332"/>
                <pc2:cmMk id="{2D2F9543-85A5-4FF5-B4D1-0984DF412BAB}"/>
              </pc2:cmMkLst>
              <pc226:cmRplyChg chg="add">
                <pc226:chgData name="Averill, Charles Alan" userId="S::caverill@deloitte.com::45bd19d9-dee6-442d-abd0-319f6b164f50" providerId="AD" clId="Web-{8795E089-EB37-12EE-F5B8-2D13B071AAE8}" dt="2024-06-12T16:39:07.961" v="1"/>
                <pc2:cmRplyMkLst xmlns:pc2="http://schemas.microsoft.com/office/powerpoint/2019/9/main/command">
                  <pc:docMk/>
                  <pc:sldMk cId="1760481120" sldId="3332"/>
                  <pc2:cmMk id="{2D2F9543-85A5-4FF5-B4D1-0984DF412BAB}"/>
                  <pc2:cmRplyMk id="{AB36660E-7871-4822-8EDD-A01D1BB8B0A5}"/>
                </pc2:cmRplyMkLst>
              </pc226:cmRplyChg>
              <pc226:cmRplyChg chg="add">
                <pc226:chgData name="Averill, Charles Alan" userId="S::caverill@deloitte.com::45bd19d9-dee6-442d-abd0-319f6b164f50" providerId="AD" clId="Web-{8795E089-EB37-12EE-F5B8-2D13B071AAE8}" dt="2024-06-12T17:29:59.685" v="32"/>
                <pc2:cmRplyMkLst xmlns:pc2="http://schemas.microsoft.com/office/powerpoint/2019/9/main/command">
                  <pc:docMk/>
                  <pc:sldMk cId="1760481120" sldId="3332"/>
                  <pc2:cmMk id="{2D2F9543-85A5-4FF5-B4D1-0984DF412BAB}"/>
                  <pc2:cmRplyMk id="{96CB7CA3-A89E-4751-B1E2-A2F55C6D7ADB}"/>
                </pc2:cmRplyMkLst>
              </pc226:cmRplyChg>
            </pc226:cmChg>
            <pc226:cmChg xmlns:pc226="http://schemas.microsoft.com/office/powerpoint/2022/06/main/command" chg="add">
              <pc226:chgData name="Averill, Charles Alan" userId="S::caverill@deloitte.com::45bd19d9-dee6-442d-abd0-319f6b164f50" providerId="AD" clId="Web-{8795E089-EB37-12EE-F5B8-2D13B071AAE8}" dt="2024-06-12T17:30:16.872" v="33"/>
              <pc2:cmMkLst xmlns:pc2="http://schemas.microsoft.com/office/powerpoint/2019/9/main/command">
                <pc:docMk/>
                <pc:sldMk cId="1760481120" sldId="3332"/>
                <pc2:cmMk id="{A061584E-45F5-48B9-906D-9B02BEBBF5EC}"/>
              </pc2:cmMkLst>
            </pc226:cmChg>
          </p:ext>
        </pc:extLst>
      </pc:sldChg>
      <pc:sldChg chg="addSp delSp modSp new del">
        <pc:chgData name="Averill, Charles Alan" userId="S::caverill@deloitte.com::45bd19d9-dee6-442d-abd0-319f6b164f50" providerId="AD" clId="Web-{8795E089-EB37-12EE-F5B8-2D13B071AAE8}" dt="2024-06-12T18:04:11.149" v="111"/>
        <pc:sldMkLst>
          <pc:docMk/>
          <pc:sldMk cId="3129186109" sldId="3334"/>
        </pc:sldMkLst>
        <pc:spChg chg="add del mod">
          <ac:chgData name="Averill, Charles Alan" userId="S::caverill@deloitte.com::45bd19d9-dee6-442d-abd0-319f6b164f50" providerId="AD" clId="Web-{8795E089-EB37-12EE-F5B8-2D13B071AAE8}" dt="2024-06-12T17:54:27.233" v="37"/>
          <ac:spMkLst>
            <pc:docMk/>
            <pc:sldMk cId="3129186109" sldId="3334"/>
            <ac:spMk id="4" creationId="{6EE9D155-CDF7-DB68-41E3-725E0016A9AE}"/>
          </ac:spMkLst>
        </pc:spChg>
      </pc:sldChg>
      <pc:sldChg chg="delSp modSp add replId modCm">
        <pc:chgData name="Averill, Charles Alan" userId="S::caverill@deloitte.com::45bd19d9-dee6-442d-abd0-319f6b164f50" providerId="AD" clId="Web-{8795E089-EB37-12EE-F5B8-2D13B071AAE8}" dt="2024-06-12T18:04:02.868" v="110"/>
        <pc:sldMkLst>
          <pc:docMk/>
          <pc:sldMk cId="1087109124" sldId="3335"/>
        </pc:sldMkLst>
        <pc:spChg chg="mod">
          <ac:chgData name="Averill, Charles Alan" userId="S::caverill@deloitte.com::45bd19d9-dee6-442d-abd0-319f6b164f50" providerId="AD" clId="Web-{8795E089-EB37-12EE-F5B8-2D13B071AAE8}" dt="2024-06-12T17:56:07.372" v="72" actId="1076"/>
          <ac:spMkLst>
            <pc:docMk/>
            <pc:sldMk cId="1087109124" sldId="3335"/>
            <ac:spMk id="2" creationId="{ACBA09A4-8C0C-6B24-3CBB-F327A3303C60}"/>
          </ac:spMkLst>
        </pc:spChg>
        <pc:spChg chg="mod">
          <ac:chgData name="Averill, Charles Alan" userId="S::caverill@deloitte.com::45bd19d9-dee6-442d-abd0-319f6b164f50" providerId="AD" clId="Web-{8795E089-EB37-12EE-F5B8-2D13B071AAE8}" dt="2024-06-12T17:56:07.372" v="73" actId="1076"/>
          <ac:spMkLst>
            <pc:docMk/>
            <pc:sldMk cId="1087109124" sldId="3335"/>
            <ac:spMk id="3" creationId="{064D88AB-793D-950D-6DC4-93990841CF97}"/>
          </ac:spMkLst>
        </pc:spChg>
        <pc:spChg chg="mod">
          <ac:chgData name="Averill, Charles Alan" userId="S::caverill@deloitte.com::45bd19d9-dee6-442d-abd0-319f6b164f50" providerId="AD" clId="Web-{8795E089-EB37-12EE-F5B8-2D13B071AAE8}" dt="2024-06-12T17:56:07.388" v="74" actId="1076"/>
          <ac:spMkLst>
            <pc:docMk/>
            <pc:sldMk cId="1087109124" sldId="3335"/>
            <ac:spMk id="4" creationId="{77D97A1A-2A49-266F-67B2-B07096919BC9}"/>
          </ac:spMkLst>
        </pc:spChg>
        <pc:spChg chg="mod">
          <ac:chgData name="Averill, Charles Alan" userId="S::caverill@deloitte.com::45bd19d9-dee6-442d-abd0-319f6b164f50" providerId="AD" clId="Web-{8795E089-EB37-12EE-F5B8-2D13B071AAE8}" dt="2024-06-12T17:56:07.357" v="70" actId="1076"/>
          <ac:spMkLst>
            <pc:docMk/>
            <pc:sldMk cId="1087109124" sldId="3335"/>
            <ac:spMk id="5" creationId="{C50CB280-A4D7-43EE-AD2F-37A5BABF84E2}"/>
          </ac:spMkLst>
        </pc:spChg>
        <pc:spChg chg="del">
          <ac:chgData name="Averill, Charles Alan" userId="S::caverill@deloitte.com::45bd19d9-dee6-442d-abd0-319f6b164f50" providerId="AD" clId="Web-{8795E089-EB37-12EE-F5B8-2D13B071AAE8}" dt="2024-06-12T17:54:42.889" v="43"/>
          <ac:spMkLst>
            <pc:docMk/>
            <pc:sldMk cId="1087109124" sldId="3335"/>
            <ac:spMk id="6" creationId="{87A3CCD4-0452-4C43-8336-4B8B9704D140}"/>
          </ac:spMkLst>
        </pc:spChg>
        <pc:spChg chg="mod">
          <ac:chgData name="Averill, Charles Alan" userId="S::caverill@deloitte.com::45bd19d9-dee6-442d-abd0-319f6b164f50" providerId="AD" clId="Web-{8795E089-EB37-12EE-F5B8-2D13B071AAE8}" dt="2024-06-12T17:55:35.935" v="65" actId="14100"/>
          <ac:spMkLst>
            <pc:docMk/>
            <pc:sldMk cId="1087109124" sldId="3335"/>
            <ac:spMk id="8" creationId="{76F43CA8-7622-442A-9D54-E79A2E15C751}"/>
          </ac:spMkLst>
        </pc:spChg>
        <pc:spChg chg="mod">
          <ac:chgData name="Averill, Charles Alan" userId="S::caverill@deloitte.com::45bd19d9-dee6-442d-abd0-319f6b164f50" providerId="AD" clId="Web-{8795E089-EB37-12EE-F5B8-2D13B071AAE8}" dt="2024-06-12T17:55:46.607" v="68" actId="1076"/>
          <ac:spMkLst>
            <pc:docMk/>
            <pc:sldMk cId="1087109124" sldId="3335"/>
            <ac:spMk id="10" creationId="{5AD92582-EB0E-493F-84F5-42312920466F}"/>
          </ac:spMkLst>
        </pc:spChg>
        <pc:spChg chg="mod">
          <ac:chgData name="Averill, Charles Alan" userId="S::caverill@deloitte.com::45bd19d9-dee6-442d-abd0-319f6b164f50" providerId="AD" clId="Web-{8795E089-EB37-12EE-F5B8-2D13B071AAE8}" dt="2024-06-12T17:56:07.357" v="71" actId="1076"/>
          <ac:spMkLst>
            <pc:docMk/>
            <pc:sldMk cId="1087109124" sldId="3335"/>
            <ac:spMk id="15" creationId="{77290228-1D3E-4FC6-ADD2-295B78B2F861}"/>
          </ac:spMkLst>
        </pc:spChg>
        <pc:spChg chg="del">
          <ac:chgData name="Averill, Charles Alan" userId="S::caverill@deloitte.com::45bd19d9-dee6-442d-abd0-319f6b164f50" providerId="AD" clId="Web-{8795E089-EB37-12EE-F5B8-2D13B071AAE8}" dt="2024-06-12T17:54:42.889" v="42"/>
          <ac:spMkLst>
            <pc:docMk/>
            <pc:sldMk cId="1087109124" sldId="3335"/>
            <ac:spMk id="20" creationId="{8844D1FD-3487-4D67-A6A4-6D919C354A6C}"/>
          </ac:spMkLst>
        </pc:spChg>
        <pc:spChg chg="del">
          <ac:chgData name="Averill, Charles Alan" userId="S::caverill@deloitte.com::45bd19d9-dee6-442d-abd0-319f6b164f50" providerId="AD" clId="Web-{8795E089-EB37-12EE-F5B8-2D13B071AAE8}" dt="2024-06-12T17:55:50.279" v="69"/>
          <ac:spMkLst>
            <pc:docMk/>
            <pc:sldMk cId="1087109124" sldId="3335"/>
            <ac:spMk id="24" creationId="{457265FE-8255-4E40-86A0-BB52C7418B47}"/>
          </ac:spMkLst>
        </pc:spChg>
        <pc:spChg chg="del">
          <ac:chgData name="Averill, Charles Alan" userId="S::caverill@deloitte.com::45bd19d9-dee6-442d-abd0-319f6b164f50" providerId="AD" clId="Web-{8795E089-EB37-12EE-F5B8-2D13B071AAE8}" dt="2024-06-12T17:54:42.889" v="41"/>
          <ac:spMkLst>
            <pc:docMk/>
            <pc:sldMk cId="1087109124" sldId="3335"/>
            <ac:spMk id="25" creationId="{3ED0DD05-1665-3A9C-786F-25A0F69EF67E}"/>
          </ac:spMkLst>
        </pc:spChg>
        <pc:spChg chg="del">
          <ac:chgData name="Averill, Charles Alan" userId="S::caverill@deloitte.com::45bd19d9-dee6-442d-abd0-319f6b164f50" providerId="AD" clId="Web-{8795E089-EB37-12EE-F5B8-2D13B071AAE8}" dt="2024-06-12T17:54:42.889" v="40"/>
          <ac:spMkLst>
            <pc:docMk/>
            <pc:sldMk cId="1087109124" sldId="3335"/>
            <ac:spMk id="26" creationId="{F5C4CF1B-2063-65D4-BA87-5C3687C59142}"/>
          </ac:spMkLst>
        </pc:spChg>
        <pc:spChg chg="del">
          <ac:chgData name="Averill, Charles Alan" userId="S::caverill@deloitte.com::45bd19d9-dee6-442d-abd0-319f6b164f50" providerId="AD" clId="Web-{8795E089-EB37-12EE-F5B8-2D13B071AAE8}" dt="2024-06-12T17:54:42.889" v="39"/>
          <ac:spMkLst>
            <pc:docMk/>
            <pc:sldMk cId="1087109124" sldId="3335"/>
            <ac:spMk id="27" creationId="{759025CB-4A74-F399-E6B8-468FEC6A0C40}"/>
          </ac:spMkLst>
        </pc:spChg>
        <pc:grpChg chg="mod">
          <ac:chgData name="Averill, Charles Alan" userId="S::caverill@deloitte.com::45bd19d9-dee6-442d-abd0-319f6b164f50" providerId="AD" clId="Web-{8795E089-EB37-12EE-F5B8-2D13B071AAE8}" dt="2024-06-12T17:54:49.779" v="46" actId="1076"/>
          <ac:grpSpMkLst>
            <pc:docMk/>
            <pc:sldMk cId="1087109124" sldId="3335"/>
            <ac:grpSpMk id="12" creationId="{7630D0A5-EC66-45C7-934B-6636AF5484EC}"/>
          </ac:grpSpMkLst>
        </pc:grpChg>
        <pc:picChg chg="mod">
          <ac:chgData name="Averill, Charles Alan" userId="S::caverill@deloitte.com::45bd19d9-dee6-442d-abd0-319f6b164f50" providerId="AD" clId="Web-{8795E089-EB37-12EE-F5B8-2D13B071AAE8}" dt="2024-06-12T17:55:25.310" v="61" actId="14100"/>
          <ac:picMkLst>
            <pc:docMk/>
            <pc:sldMk cId="1087109124" sldId="3335"/>
            <ac:picMk id="7" creationId="{DC93321B-20D0-49CA-BF71-6D8518E29B91}"/>
          </ac:picMkLst>
        </pc:picChg>
        <pc:cxnChg chg="del">
          <ac:chgData name="Averill, Charles Alan" userId="S::caverill@deloitte.com::45bd19d9-dee6-442d-abd0-319f6b164f50" providerId="AD" clId="Web-{8795E089-EB37-12EE-F5B8-2D13B071AAE8}" dt="2024-06-12T17:54:45.686" v="44"/>
          <ac:cxnSpMkLst>
            <pc:docMk/>
            <pc:sldMk cId="1087109124" sldId="3335"/>
            <ac:cxnSpMk id="18" creationId="{7F2F71F9-0119-4A55-83EA-55369B8A5CD3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mod modRxn">
              <pc226:chgData name="Averill, Charles Alan" userId="S::caverill@deloitte.com::45bd19d9-dee6-442d-abd0-319f6b164f50" providerId="AD" clId="Web-{8795E089-EB37-12EE-F5B8-2D13B071AAE8}" dt="2024-06-12T18:04:02.868" v="110"/>
              <pc2:cmMkLst xmlns:pc2="http://schemas.microsoft.com/office/powerpoint/2019/9/main/command">
                <pc:docMk/>
                <pc:sldMk cId="1087109124" sldId="3335"/>
                <pc2:cmMk id="{AC3A9802-AF6A-4B8E-ADFC-5ADFE560AFB5}"/>
              </pc2:cmMkLst>
            </pc226:cmChg>
          </p:ext>
        </pc:extLst>
      </pc:sldChg>
      <pc:sldChg chg="addSp delSp modSp add replId">
        <pc:chgData name="Averill, Charles Alan" userId="S::caverill@deloitte.com::45bd19d9-dee6-442d-abd0-319f6b164f50" providerId="AD" clId="Web-{8795E089-EB37-12EE-F5B8-2D13B071AAE8}" dt="2024-06-12T18:00:16.807" v="109"/>
        <pc:sldMkLst>
          <pc:docMk/>
          <pc:sldMk cId="927052965" sldId="3336"/>
        </pc:sldMkLst>
        <pc:spChg chg="del">
          <ac:chgData name="Averill, Charles Alan" userId="S::caverill@deloitte.com::45bd19d9-dee6-442d-abd0-319f6b164f50" providerId="AD" clId="Web-{8795E089-EB37-12EE-F5B8-2D13B071AAE8}" dt="2024-06-12T17:59:06.605" v="78"/>
          <ac:spMkLst>
            <pc:docMk/>
            <pc:sldMk cId="927052965" sldId="3336"/>
            <ac:spMk id="2" creationId="{ACBA09A4-8C0C-6B24-3CBB-F327A3303C60}"/>
          </ac:spMkLst>
        </pc:spChg>
        <pc:spChg chg="del">
          <ac:chgData name="Averill, Charles Alan" userId="S::caverill@deloitte.com::45bd19d9-dee6-442d-abd0-319f6b164f50" providerId="AD" clId="Web-{8795E089-EB37-12EE-F5B8-2D13B071AAE8}" dt="2024-06-12T17:59:06.605" v="77"/>
          <ac:spMkLst>
            <pc:docMk/>
            <pc:sldMk cId="927052965" sldId="3336"/>
            <ac:spMk id="3" creationId="{064D88AB-793D-950D-6DC4-93990841CF97}"/>
          </ac:spMkLst>
        </pc:spChg>
        <pc:spChg chg="del">
          <ac:chgData name="Averill, Charles Alan" userId="S::caverill@deloitte.com::45bd19d9-dee6-442d-abd0-319f6b164f50" providerId="AD" clId="Web-{8795E089-EB37-12EE-F5B8-2D13B071AAE8}" dt="2024-06-12T17:59:06.605" v="76"/>
          <ac:spMkLst>
            <pc:docMk/>
            <pc:sldMk cId="927052965" sldId="3336"/>
            <ac:spMk id="4" creationId="{77D97A1A-2A49-266F-67B2-B07096919BC9}"/>
          </ac:spMkLst>
        </pc:spChg>
        <pc:spChg chg="del">
          <ac:chgData name="Averill, Charles Alan" userId="S::caverill@deloitte.com::45bd19d9-dee6-442d-abd0-319f6b164f50" providerId="AD" clId="Web-{8795E089-EB37-12EE-F5B8-2D13B071AAE8}" dt="2024-06-12T17:59:06.605" v="81"/>
          <ac:spMkLst>
            <pc:docMk/>
            <pc:sldMk cId="927052965" sldId="3336"/>
            <ac:spMk id="5" creationId="{C50CB280-A4D7-43EE-AD2F-37A5BABF84E2}"/>
          </ac:spMkLst>
        </pc:spChg>
        <pc:spChg chg="mod">
          <ac:chgData name="Averill, Charles Alan" userId="S::caverill@deloitte.com::45bd19d9-dee6-442d-abd0-319f6b164f50" providerId="AD" clId="Web-{8795E089-EB37-12EE-F5B8-2D13B071AAE8}" dt="2024-06-12T17:59:36.386" v="102" actId="1076"/>
          <ac:spMkLst>
            <pc:docMk/>
            <pc:sldMk cId="927052965" sldId="3336"/>
            <ac:spMk id="6" creationId="{87A3CCD4-0452-4C43-8336-4B8B9704D140}"/>
          </ac:spMkLst>
        </pc:spChg>
        <pc:spChg chg="del">
          <ac:chgData name="Averill, Charles Alan" userId="S::caverill@deloitte.com::45bd19d9-dee6-442d-abd0-319f6b164f50" providerId="AD" clId="Web-{8795E089-EB37-12EE-F5B8-2D13B071AAE8}" dt="2024-06-12T17:59:09.074" v="83"/>
          <ac:spMkLst>
            <pc:docMk/>
            <pc:sldMk cId="927052965" sldId="3336"/>
            <ac:spMk id="8" creationId="{76F43CA8-7622-442A-9D54-E79A2E15C751}"/>
          </ac:spMkLst>
        </pc:spChg>
        <pc:spChg chg="del">
          <ac:chgData name="Averill, Charles Alan" userId="S::caverill@deloitte.com::45bd19d9-dee6-442d-abd0-319f6b164f50" providerId="AD" clId="Web-{8795E089-EB37-12EE-F5B8-2D13B071AAE8}" dt="2024-06-12T17:59:09.074" v="82"/>
          <ac:spMkLst>
            <pc:docMk/>
            <pc:sldMk cId="927052965" sldId="3336"/>
            <ac:spMk id="10" creationId="{5AD92582-EB0E-493F-84F5-42312920466F}"/>
          </ac:spMkLst>
        </pc:spChg>
        <pc:spChg chg="del">
          <ac:chgData name="Averill, Charles Alan" userId="S::caverill@deloitte.com::45bd19d9-dee6-442d-abd0-319f6b164f50" providerId="AD" clId="Web-{8795E089-EB37-12EE-F5B8-2D13B071AAE8}" dt="2024-06-12T17:59:06.605" v="79"/>
          <ac:spMkLst>
            <pc:docMk/>
            <pc:sldMk cId="927052965" sldId="3336"/>
            <ac:spMk id="15" creationId="{77290228-1D3E-4FC6-ADD2-295B78B2F861}"/>
          </ac:spMkLst>
        </pc:spChg>
        <pc:spChg chg="mod">
          <ac:chgData name="Averill, Charles Alan" userId="S::caverill@deloitte.com::45bd19d9-dee6-442d-abd0-319f6b164f50" providerId="AD" clId="Web-{8795E089-EB37-12EE-F5B8-2D13B071AAE8}" dt="2024-06-12T17:59:36.386" v="103" actId="1076"/>
          <ac:spMkLst>
            <pc:docMk/>
            <pc:sldMk cId="927052965" sldId="3336"/>
            <ac:spMk id="20" creationId="{8844D1FD-3487-4D67-A6A4-6D919C354A6C}"/>
          </ac:spMkLst>
        </pc:spChg>
        <pc:spChg chg="add">
          <ac:chgData name="Averill, Charles Alan" userId="S::caverill@deloitte.com::45bd19d9-dee6-442d-abd0-319f6b164f50" providerId="AD" clId="Web-{8795E089-EB37-12EE-F5B8-2D13B071AAE8}" dt="2024-06-12T17:59:17.214" v="87"/>
          <ac:spMkLst>
            <pc:docMk/>
            <pc:sldMk cId="927052965" sldId="3336"/>
            <ac:spMk id="22" creationId="{A3E544DD-2DE5-5894-0A60-D09AF11923D3}"/>
          </ac:spMkLst>
        </pc:spChg>
        <pc:spChg chg="del">
          <ac:chgData name="Averill, Charles Alan" userId="S::caverill@deloitte.com::45bd19d9-dee6-442d-abd0-319f6b164f50" providerId="AD" clId="Web-{8795E089-EB37-12EE-F5B8-2D13B071AAE8}" dt="2024-06-12T17:59:10.995" v="85"/>
          <ac:spMkLst>
            <pc:docMk/>
            <pc:sldMk cId="927052965" sldId="3336"/>
            <ac:spMk id="24" creationId="{457265FE-8255-4E40-86A0-BB52C7418B47}"/>
          </ac:spMkLst>
        </pc:spChg>
        <pc:spChg chg="mod">
          <ac:chgData name="Averill, Charles Alan" userId="S::caverill@deloitte.com::45bd19d9-dee6-442d-abd0-319f6b164f50" providerId="AD" clId="Web-{8795E089-EB37-12EE-F5B8-2D13B071AAE8}" dt="2024-06-12T17:59:36.401" v="105" actId="1076"/>
          <ac:spMkLst>
            <pc:docMk/>
            <pc:sldMk cId="927052965" sldId="3336"/>
            <ac:spMk id="25" creationId="{3ED0DD05-1665-3A9C-786F-25A0F69EF67E}"/>
          </ac:spMkLst>
        </pc:spChg>
        <pc:spChg chg="mod">
          <ac:chgData name="Averill, Charles Alan" userId="S::caverill@deloitte.com::45bd19d9-dee6-442d-abd0-319f6b164f50" providerId="AD" clId="Web-{8795E089-EB37-12EE-F5B8-2D13B071AAE8}" dt="2024-06-12T17:59:36.401" v="106" actId="1076"/>
          <ac:spMkLst>
            <pc:docMk/>
            <pc:sldMk cId="927052965" sldId="3336"/>
            <ac:spMk id="26" creationId="{F5C4CF1B-2063-65D4-BA87-5C3687C59142}"/>
          </ac:spMkLst>
        </pc:spChg>
        <pc:spChg chg="mod">
          <ac:chgData name="Averill, Charles Alan" userId="S::caverill@deloitte.com::45bd19d9-dee6-442d-abd0-319f6b164f50" providerId="AD" clId="Web-{8795E089-EB37-12EE-F5B8-2D13B071AAE8}" dt="2024-06-12T17:59:36.417" v="107" actId="1076"/>
          <ac:spMkLst>
            <pc:docMk/>
            <pc:sldMk cId="927052965" sldId="3336"/>
            <ac:spMk id="27" creationId="{759025CB-4A74-F399-E6B8-468FEC6A0C40}"/>
          </ac:spMkLst>
        </pc:spChg>
        <pc:spChg chg="add">
          <ac:chgData name="Averill, Charles Alan" userId="S::caverill@deloitte.com::45bd19d9-dee6-442d-abd0-319f6b164f50" providerId="AD" clId="Web-{8795E089-EB37-12EE-F5B8-2D13B071AAE8}" dt="2024-06-12T17:59:17.214" v="88"/>
          <ac:spMkLst>
            <pc:docMk/>
            <pc:sldMk cId="927052965" sldId="3336"/>
            <ac:spMk id="28" creationId="{FA0EDA8C-B310-B320-8499-4CC435220454}"/>
          </ac:spMkLst>
        </pc:spChg>
        <pc:grpChg chg="mod">
          <ac:chgData name="Averill, Charles Alan" userId="S::caverill@deloitte.com::45bd19d9-dee6-442d-abd0-319f6b164f50" providerId="AD" clId="Web-{8795E089-EB37-12EE-F5B8-2D13B071AAE8}" dt="2024-06-12T17:59:36.401" v="104" actId="1076"/>
          <ac:grpSpMkLst>
            <pc:docMk/>
            <pc:sldMk cId="927052965" sldId="3336"/>
            <ac:grpSpMk id="9" creationId="{2348BCC8-FB24-5877-272C-20B4D6197654}"/>
          </ac:grpSpMkLst>
        </pc:grpChg>
        <pc:grpChg chg="del">
          <ac:chgData name="Averill, Charles Alan" userId="S::caverill@deloitte.com::45bd19d9-dee6-442d-abd0-319f6b164f50" providerId="AD" clId="Web-{8795E089-EB37-12EE-F5B8-2D13B071AAE8}" dt="2024-06-12T17:59:06.605" v="80"/>
          <ac:grpSpMkLst>
            <pc:docMk/>
            <pc:sldMk cId="927052965" sldId="3336"/>
            <ac:grpSpMk id="12" creationId="{7630D0A5-EC66-45C7-934B-6636AF5484EC}"/>
          </ac:grpSpMkLst>
        </pc:grpChg>
        <pc:picChg chg="del">
          <ac:chgData name="Averill, Charles Alan" userId="S::caverill@deloitte.com::45bd19d9-dee6-442d-abd0-319f6b164f50" providerId="AD" clId="Web-{8795E089-EB37-12EE-F5B8-2D13B071AAE8}" dt="2024-06-12T17:59:09.074" v="84"/>
          <ac:picMkLst>
            <pc:docMk/>
            <pc:sldMk cId="927052965" sldId="3336"/>
            <ac:picMk id="7" creationId="{DC93321B-20D0-49CA-BF71-6D8518E29B91}"/>
          </ac:picMkLst>
        </pc:picChg>
        <pc:picChg chg="add">
          <ac:chgData name="Averill, Charles Alan" userId="S::caverill@deloitte.com::45bd19d9-dee6-442d-abd0-319f6b164f50" providerId="AD" clId="Web-{8795E089-EB37-12EE-F5B8-2D13B071AAE8}" dt="2024-06-12T17:59:17.198" v="86"/>
          <ac:picMkLst>
            <pc:docMk/>
            <pc:sldMk cId="927052965" sldId="3336"/>
            <ac:picMk id="19" creationId="{0F27DF15-F9E6-6180-2BF8-C8768EC806C8}"/>
          </ac:picMkLst>
        </pc:picChg>
        <pc:cxnChg chg="del mod">
          <ac:chgData name="Averill, Charles Alan" userId="S::caverill@deloitte.com::45bd19d9-dee6-442d-abd0-319f6b164f50" providerId="AD" clId="Web-{8795E089-EB37-12EE-F5B8-2D13B071AAE8}" dt="2024-06-12T18:00:16.807" v="109"/>
          <ac:cxnSpMkLst>
            <pc:docMk/>
            <pc:sldMk cId="927052965" sldId="3336"/>
            <ac:cxnSpMk id="18" creationId="{7F2F71F9-0119-4A55-83EA-55369B8A5CD3}"/>
          </ac:cxnSpMkLst>
        </pc:cxnChg>
      </pc:sldChg>
    </pc:docChg>
  </pc:docChgLst>
  <pc:docChgLst>
    <pc:chgData name="Morales Santamaria, Paola Jacqueline" userId="S::pmoralessantamari@deloitte.com::92f6e0a2-2c0c-4d45-87f1-23ee885d52b7" providerId="AD" clId="Web-{A3FD9B39-86CB-E8E0-DC3F-53A3753B4CCD}"/>
    <pc:docChg chg="addSld delSld modSld sldOrd">
      <pc:chgData name="Morales Santamaria, Paola Jacqueline" userId="S::pmoralessantamari@deloitte.com::92f6e0a2-2c0c-4d45-87f1-23ee885d52b7" providerId="AD" clId="Web-{A3FD9B39-86CB-E8E0-DC3F-53A3753B4CCD}" dt="2024-06-10T04:37:20.199" v="78" actId="1076"/>
      <pc:docMkLst>
        <pc:docMk/>
      </pc:docMkLst>
      <pc:sldChg chg="addSp delSp modSp">
        <pc:chgData name="Morales Santamaria, Paola Jacqueline" userId="S::pmoralessantamari@deloitte.com::92f6e0a2-2c0c-4d45-87f1-23ee885d52b7" providerId="AD" clId="Web-{A3FD9B39-86CB-E8E0-DC3F-53A3753B4CCD}" dt="2024-06-10T04:32:45.954" v="15" actId="1076"/>
        <pc:sldMkLst>
          <pc:docMk/>
          <pc:sldMk cId="2854881241" sldId="3330"/>
        </pc:sldMkLst>
        <pc:picChg chg="add mod">
          <ac:chgData name="Morales Santamaria, Paola Jacqueline" userId="S::pmoralessantamari@deloitte.com::92f6e0a2-2c0c-4d45-87f1-23ee885d52b7" providerId="AD" clId="Web-{A3FD9B39-86CB-E8E0-DC3F-53A3753B4CCD}" dt="2024-06-10T04:32:45.954" v="15" actId="1076"/>
          <ac:picMkLst>
            <pc:docMk/>
            <pc:sldMk cId="2854881241" sldId="3330"/>
            <ac:picMk id="3" creationId="{1D6E9876-8D6E-6CD9-D5FC-63433A29E7E5}"/>
          </ac:picMkLst>
        </pc:picChg>
        <pc:picChg chg="del">
          <ac:chgData name="Morales Santamaria, Paola Jacqueline" userId="S::pmoralessantamari@deloitte.com::92f6e0a2-2c0c-4d45-87f1-23ee885d52b7" providerId="AD" clId="Web-{A3FD9B39-86CB-E8E0-DC3F-53A3753B4CCD}" dt="2024-06-10T04:31:22.341" v="0"/>
          <ac:picMkLst>
            <pc:docMk/>
            <pc:sldMk cId="2854881241" sldId="3330"/>
            <ac:picMk id="40" creationId="{3B1ABCC3-E988-D93B-1723-198CBE80FF61}"/>
          </ac:picMkLst>
        </pc:picChg>
      </pc:sldChg>
      <pc:sldChg chg="addSp delSp modSp">
        <pc:chgData name="Morales Santamaria, Paola Jacqueline" userId="S::pmoralessantamari@deloitte.com::92f6e0a2-2c0c-4d45-87f1-23ee885d52b7" providerId="AD" clId="Web-{A3FD9B39-86CB-E8E0-DC3F-53A3753B4CCD}" dt="2024-06-10T04:37:20.199" v="78" actId="1076"/>
        <pc:sldMkLst>
          <pc:docMk/>
          <pc:sldMk cId="1613324825" sldId="3331"/>
        </pc:sldMkLst>
        <pc:picChg chg="del">
          <ac:chgData name="Morales Santamaria, Paola Jacqueline" userId="S::pmoralessantamari@deloitte.com::92f6e0a2-2c0c-4d45-87f1-23ee885d52b7" providerId="AD" clId="Web-{A3FD9B39-86CB-E8E0-DC3F-53A3753B4CCD}" dt="2024-06-10T04:34:49.802" v="32"/>
          <ac:picMkLst>
            <pc:docMk/>
            <pc:sldMk cId="1613324825" sldId="3331"/>
            <ac:picMk id="3" creationId="{1F29BB92-B64F-DBF0-E935-8704DD36F0D3}"/>
          </ac:picMkLst>
        </pc:picChg>
        <pc:picChg chg="del">
          <ac:chgData name="Morales Santamaria, Paola Jacqueline" userId="S::pmoralessantamari@deloitte.com::92f6e0a2-2c0c-4d45-87f1-23ee885d52b7" providerId="AD" clId="Web-{A3FD9B39-86CB-E8E0-DC3F-53A3753B4CCD}" dt="2024-06-10T04:32:51.657" v="16"/>
          <ac:picMkLst>
            <pc:docMk/>
            <pc:sldMk cId="1613324825" sldId="3331"/>
            <ac:picMk id="4" creationId="{02AEEB9A-0B38-B28D-E7BE-8C067379879A}"/>
          </ac:picMkLst>
        </pc:picChg>
        <pc:picChg chg="add del mod">
          <ac:chgData name="Morales Santamaria, Paola Jacqueline" userId="S::pmoralessantamari@deloitte.com::92f6e0a2-2c0c-4d45-87f1-23ee885d52b7" providerId="AD" clId="Web-{A3FD9B39-86CB-E8E0-DC3F-53A3753B4CCD}" dt="2024-06-10T04:35:49.867" v="51"/>
          <ac:picMkLst>
            <pc:docMk/>
            <pc:sldMk cId="1613324825" sldId="3331"/>
            <ac:picMk id="5" creationId="{41FB8783-EA1E-62E0-6E99-BFE426F6FC17}"/>
          </ac:picMkLst>
        </pc:picChg>
        <pc:picChg chg="add mod">
          <ac:chgData name="Morales Santamaria, Paola Jacqueline" userId="S::pmoralessantamari@deloitte.com::92f6e0a2-2c0c-4d45-87f1-23ee885d52b7" providerId="AD" clId="Web-{A3FD9B39-86CB-E8E0-DC3F-53A3753B4CCD}" dt="2024-06-10T04:37:20.199" v="78" actId="1076"/>
          <ac:picMkLst>
            <pc:docMk/>
            <pc:sldMk cId="1613324825" sldId="3331"/>
            <ac:picMk id="7" creationId="{F2D5992B-3D46-9C31-1022-3B33D636328C}"/>
          </ac:picMkLst>
        </pc:picChg>
      </pc:sldChg>
      <pc:sldChg chg="addSp delSp modSp add ord replId">
        <pc:chgData name="Morales Santamaria, Paola Jacqueline" userId="S::pmoralessantamari@deloitte.com::92f6e0a2-2c0c-4d45-87f1-23ee885d52b7" providerId="AD" clId="Web-{A3FD9B39-86CB-E8E0-DC3F-53A3753B4CCD}" dt="2024-06-10T04:37:14.089" v="77" actId="1076"/>
        <pc:sldMkLst>
          <pc:docMk/>
          <pc:sldMk cId="280461152" sldId="3333"/>
        </pc:sldMkLst>
        <pc:picChg chg="mod">
          <ac:chgData name="Morales Santamaria, Paola Jacqueline" userId="S::pmoralessantamari@deloitte.com::92f6e0a2-2c0c-4d45-87f1-23ee885d52b7" providerId="AD" clId="Web-{A3FD9B39-86CB-E8E0-DC3F-53A3753B4CCD}" dt="2024-06-10T04:37:14.089" v="77" actId="1076"/>
          <ac:picMkLst>
            <pc:docMk/>
            <pc:sldMk cId="280461152" sldId="3333"/>
            <ac:picMk id="3" creationId="{1F29BB92-B64F-DBF0-E935-8704DD36F0D3}"/>
          </ac:picMkLst>
        </pc:picChg>
        <pc:picChg chg="add del mod">
          <ac:chgData name="Morales Santamaria, Paola Jacqueline" userId="S::pmoralessantamari@deloitte.com::92f6e0a2-2c0c-4d45-87f1-23ee885d52b7" providerId="AD" clId="Web-{A3FD9B39-86CB-E8E0-DC3F-53A3753B4CCD}" dt="2024-06-10T04:36:37.182" v="69"/>
          <ac:picMkLst>
            <pc:docMk/>
            <pc:sldMk cId="280461152" sldId="3333"/>
            <ac:picMk id="4" creationId="{6DDF0778-6560-9501-420F-3FBD4F81ADF4}"/>
          </ac:picMkLst>
        </pc:picChg>
        <pc:picChg chg="del">
          <ac:chgData name="Morales Santamaria, Paola Jacqueline" userId="S::pmoralessantamari@deloitte.com::92f6e0a2-2c0c-4d45-87f1-23ee885d52b7" providerId="AD" clId="Web-{A3FD9B39-86CB-E8E0-DC3F-53A3753B4CCD}" dt="2024-06-10T04:34:33.411" v="27"/>
          <ac:picMkLst>
            <pc:docMk/>
            <pc:sldMk cId="280461152" sldId="3333"/>
            <ac:picMk id="5" creationId="{41FB8783-EA1E-62E0-6E99-BFE426F6FC17}"/>
          </ac:picMkLst>
        </pc:picChg>
        <pc:picChg chg="add mod">
          <ac:chgData name="Morales Santamaria, Paola Jacqueline" userId="S::pmoralessantamari@deloitte.com::92f6e0a2-2c0c-4d45-87f1-23ee885d52b7" providerId="AD" clId="Web-{A3FD9B39-86CB-E8E0-DC3F-53A3753B4CCD}" dt="2024-06-10T04:37:10.152" v="76" actId="14100"/>
          <ac:picMkLst>
            <pc:docMk/>
            <pc:sldMk cId="280461152" sldId="3333"/>
            <ac:picMk id="7" creationId="{F3CE33D0-6927-0F04-CD14-AA293FC8FCB2}"/>
          </ac:picMkLst>
        </pc:picChg>
      </pc:sldChg>
      <pc:sldChg chg="add del replId">
        <pc:chgData name="Morales Santamaria, Paola Jacqueline" userId="S::pmoralessantamari@deloitte.com::92f6e0a2-2c0c-4d45-87f1-23ee885d52b7" providerId="AD" clId="Web-{A3FD9B39-86CB-E8E0-DC3F-53A3753B4CCD}" dt="2024-06-10T04:34:54.474" v="34"/>
        <pc:sldMkLst>
          <pc:docMk/>
          <pc:sldMk cId="2664106381" sldId="3334"/>
        </pc:sldMkLst>
      </pc:sldChg>
    </pc:docChg>
  </pc:docChgLst>
  <pc:docChgLst>
    <pc:chgData name="Alvarado Menendez, Leonardo" userId="S::lalvaradomenendez@deloitte.com::905d9c53-4bde-43eb-84a8-1d1744a10674" providerId="AD" clId="Web-{E0466F69-DC1A-4816-8834-FCD64CB4431B}"/>
    <pc:docChg chg="addSld modSld sldOrd">
      <pc:chgData name="Alvarado Menendez, Leonardo" userId="S::lalvaradomenendez@deloitte.com::905d9c53-4bde-43eb-84a8-1d1744a10674" providerId="AD" clId="Web-{E0466F69-DC1A-4816-8834-FCD64CB4431B}" dt="2024-05-31T06:55:01.826" v="128" actId="20577"/>
      <pc:docMkLst>
        <pc:docMk/>
      </pc:docMkLst>
      <pc:sldChg chg="addSp delSp modSp">
        <pc:chgData name="Alvarado Menendez, Leonardo" userId="S::lalvaradomenendez@deloitte.com::905d9c53-4bde-43eb-84a8-1d1744a10674" providerId="AD" clId="Web-{E0466F69-DC1A-4816-8834-FCD64CB4431B}" dt="2024-05-31T06:53:50.277" v="113"/>
        <pc:sldMkLst>
          <pc:docMk/>
          <pc:sldMk cId="224413862" sldId="259"/>
        </pc:sldMkLst>
        <pc:spChg chg="add del">
          <ac:chgData name="Alvarado Menendez, Leonardo" userId="S::lalvaradomenendez@deloitte.com::905d9c53-4bde-43eb-84a8-1d1744a10674" providerId="AD" clId="Web-{E0466F69-DC1A-4816-8834-FCD64CB4431B}" dt="2024-05-31T06:53:39.042" v="105"/>
          <ac:spMkLst>
            <pc:docMk/>
            <pc:sldMk cId="224413862" sldId="259"/>
            <ac:spMk id="2" creationId="{DA25C1AF-791C-E0C8-0A95-7283BADE81AA}"/>
          </ac:spMkLst>
        </pc:spChg>
        <pc:spChg chg="add del mod">
          <ac:chgData name="Alvarado Menendez, Leonardo" userId="S::lalvaradomenendez@deloitte.com::905d9c53-4bde-43eb-84a8-1d1744a10674" providerId="AD" clId="Web-{E0466F69-DC1A-4816-8834-FCD64CB4431B}" dt="2024-05-31T06:52:50.712" v="86"/>
          <ac:spMkLst>
            <pc:docMk/>
            <pc:sldMk cId="224413862" sldId="259"/>
            <ac:spMk id="3" creationId="{68A74EEB-AFCB-8219-B1AF-D8BD208AF63F}"/>
          </ac:spMkLst>
        </pc:spChg>
        <pc:spChg chg="add del mod">
          <ac:chgData name="Alvarado Menendez, Leonardo" userId="S::lalvaradomenendez@deloitte.com::905d9c53-4bde-43eb-84a8-1d1744a10674" providerId="AD" clId="Web-{E0466F69-DC1A-4816-8834-FCD64CB4431B}" dt="2024-05-31T06:48:51.917" v="15"/>
          <ac:spMkLst>
            <pc:docMk/>
            <pc:sldMk cId="224413862" sldId="259"/>
            <ac:spMk id="3" creationId="{99A50A57-4312-4DC9-0C90-649FF010E646}"/>
          </ac:spMkLst>
        </pc:spChg>
        <pc:spChg chg="add del mod">
          <ac:chgData name="Alvarado Menendez, Leonardo" userId="S::lalvaradomenendez@deloitte.com::905d9c53-4bde-43eb-84a8-1d1744a10674" providerId="AD" clId="Web-{E0466F69-DC1A-4816-8834-FCD64CB4431B}" dt="2024-05-31T06:52:50.712" v="85"/>
          <ac:spMkLst>
            <pc:docMk/>
            <pc:sldMk cId="224413862" sldId="259"/>
            <ac:spMk id="4" creationId="{A68AC19C-BB47-5881-44A3-7BB93BE21EDB}"/>
          </ac:spMkLst>
        </pc:spChg>
        <pc:spChg chg="add del mod">
          <ac:chgData name="Alvarado Menendez, Leonardo" userId="S::lalvaradomenendez@deloitte.com::905d9c53-4bde-43eb-84a8-1d1744a10674" providerId="AD" clId="Web-{E0466F69-DC1A-4816-8834-FCD64CB4431B}" dt="2024-05-31T06:52:50.712" v="84"/>
          <ac:spMkLst>
            <pc:docMk/>
            <pc:sldMk cId="224413862" sldId="259"/>
            <ac:spMk id="5" creationId="{5539FA28-C95C-51DF-E4A1-5933C3B90DAC}"/>
          </ac:spMkLst>
        </pc:spChg>
        <pc:spChg chg="add del mod">
          <ac:chgData name="Alvarado Menendez, Leonardo" userId="S::lalvaradomenendez@deloitte.com::905d9c53-4bde-43eb-84a8-1d1744a10674" providerId="AD" clId="Web-{E0466F69-DC1A-4816-8834-FCD64CB4431B}" dt="2024-05-31T06:48:26.853" v="12"/>
          <ac:spMkLst>
            <pc:docMk/>
            <pc:sldMk cId="224413862" sldId="259"/>
            <ac:spMk id="5" creationId="{77DE2B46-A279-6FCD-6ADD-2C66CF317BE8}"/>
          </ac:spMkLst>
        </pc:spChg>
        <pc:spChg chg="add del mod">
          <ac:chgData name="Alvarado Menendez, Leonardo" userId="S::lalvaradomenendez@deloitte.com::905d9c53-4bde-43eb-84a8-1d1744a10674" providerId="AD" clId="Web-{E0466F69-DC1A-4816-8834-FCD64CB4431B}" dt="2024-05-31T06:52:50.712" v="83"/>
          <ac:spMkLst>
            <pc:docMk/>
            <pc:sldMk cId="224413862" sldId="259"/>
            <ac:spMk id="6" creationId="{71DBF367-765D-2C5B-79A4-EC835425B5AD}"/>
          </ac:spMkLst>
        </pc:spChg>
        <pc:spChg chg="add mod">
          <ac:chgData name="Alvarado Menendez, Leonardo" userId="S::lalvaradomenendez@deloitte.com::905d9c53-4bde-43eb-84a8-1d1744a10674" providerId="AD" clId="Web-{E0466F69-DC1A-4816-8834-FCD64CB4431B}" dt="2024-05-31T06:50:55.178" v="50" actId="1076"/>
          <ac:spMkLst>
            <pc:docMk/>
            <pc:sldMk cId="224413862" sldId="259"/>
            <ac:spMk id="16" creationId="{D72E25C1-31E7-92F4-7437-7747793A0AE4}"/>
          </ac:spMkLst>
        </pc:spChg>
        <pc:spChg chg="add del mod">
          <ac:chgData name="Alvarado Menendez, Leonardo" userId="S::lalvaradomenendez@deloitte.com::905d9c53-4bde-43eb-84a8-1d1744a10674" providerId="AD" clId="Web-{E0466F69-DC1A-4816-8834-FCD64CB4431B}" dt="2024-05-31T06:53:50.277" v="113"/>
          <ac:spMkLst>
            <pc:docMk/>
            <pc:sldMk cId="224413862" sldId="259"/>
            <ac:spMk id="18" creationId="{F41A1EE0-EC2B-358E-6900-5D931EB3EEAC}"/>
          </ac:spMkLst>
        </pc:spChg>
        <pc:spChg chg="add mod">
          <ac:chgData name="Alvarado Menendez, Leonardo" userId="S::lalvaradomenendez@deloitte.com::905d9c53-4bde-43eb-84a8-1d1744a10674" providerId="AD" clId="Web-{E0466F69-DC1A-4816-8834-FCD64CB4431B}" dt="2024-05-31T06:53:46.620" v="112" actId="20577"/>
          <ac:spMkLst>
            <pc:docMk/>
            <pc:sldMk cId="224413862" sldId="259"/>
            <ac:spMk id="20" creationId="{02998329-293A-1918-2D05-53B36B9BA2D1}"/>
          </ac:spMkLst>
        </pc:spChg>
        <pc:picChg chg="add del mod">
          <ac:chgData name="Alvarado Menendez, Leonardo" userId="S::lalvaradomenendez@deloitte.com::905d9c53-4bde-43eb-84a8-1d1744a10674" providerId="AD" clId="Web-{E0466F69-DC1A-4816-8834-FCD64CB4431B}" dt="2024-05-31T06:48:03.508" v="3"/>
          <ac:picMkLst>
            <pc:docMk/>
            <pc:sldMk cId="224413862" sldId="259"/>
            <ac:picMk id="6" creationId="{6EA69D51-862B-C7C0-656D-D256865062FD}"/>
          </ac:picMkLst>
        </pc:picChg>
        <pc:picChg chg="add mod modCrop">
          <ac:chgData name="Alvarado Menendez, Leonardo" userId="S::lalvaradomenendez@deloitte.com::905d9c53-4bde-43eb-84a8-1d1744a10674" providerId="AD" clId="Web-{E0466F69-DC1A-4816-8834-FCD64CB4431B}" dt="2024-05-31T06:53:29.510" v="104" actId="14100"/>
          <ac:picMkLst>
            <pc:docMk/>
            <pc:sldMk cId="224413862" sldId="259"/>
            <ac:picMk id="7" creationId="{4E845F0F-A991-649C-3593-3C64E2085A45}"/>
          </ac:picMkLst>
        </pc:picChg>
        <pc:picChg chg="add del mod">
          <ac:chgData name="Alvarado Menendez, Leonardo" userId="S::lalvaradomenendez@deloitte.com::905d9c53-4bde-43eb-84a8-1d1744a10674" providerId="AD" clId="Web-{E0466F69-DC1A-4816-8834-FCD64CB4431B}" dt="2024-05-31T06:48:23.275" v="10"/>
          <ac:picMkLst>
            <pc:docMk/>
            <pc:sldMk cId="224413862" sldId="259"/>
            <ac:picMk id="7" creationId="{5A464D35-FB17-B937-1F97-7D389AFD5E6A}"/>
          </ac:picMkLst>
        </pc:picChg>
        <pc:picChg chg="add del mod">
          <ac:chgData name="Alvarado Menendez, Leonardo" userId="S::lalvaradomenendez@deloitte.com::905d9c53-4bde-43eb-84a8-1d1744a10674" providerId="AD" clId="Web-{E0466F69-DC1A-4816-8834-FCD64CB4431B}" dt="2024-05-31T06:52:50.712" v="94"/>
          <ac:picMkLst>
            <pc:docMk/>
            <pc:sldMk cId="224413862" sldId="259"/>
            <ac:picMk id="8" creationId="{CACE808A-90F9-073E-332F-E2F6423BAD11}"/>
          </ac:picMkLst>
        </pc:picChg>
        <pc:picChg chg="add del mod">
          <ac:chgData name="Alvarado Menendez, Leonardo" userId="S::lalvaradomenendez@deloitte.com::905d9c53-4bde-43eb-84a8-1d1744a10674" providerId="AD" clId="Web-{E0466F69-DC1A-4816-8834-FCD64CB4431B}" dt="2024-05-31T06:52:50.712" v="93"/>
          <ac:picMkLst>
            <pc:docMk/>
            <pc:sldMk cId="224413862" sldId="259"/>
            <ac:picMk id="9" creationId="{BB1B688F-9E98-C2BC-956B-F1E35362DEC5}"/>
          </ac:picMkLst>
        </pc:picChg>
        <pc:picChg chg="add del mod">
          <ac:chgData name="Alvarado Menendez, Leonardo" userId="S::lalvaradomenendez@deloitte.com::905d9c53-4bde-43eb-84a8-1d1744a10674" providerId="AD" clId="Web-{E0466F69-DC1A-4816-8834-FCD64CB4431B}" dt="2024-05-31T06:52:50.712" v="92"/>
          <ac:picMkLst>
            <pc:docMk/>
            <pc:sldMk cId="224413862" sldId="259"/>
            <ac:picMk id="10" creationId="{08895B5A-70BD-D7B3-F1D3-72A8C63725E7}"/>
          </ac:picMkLst>
        </pc:picChg>
        <pc:picChg chg="add del mod">
          <ac:chgData name="Alvarado Menendez, Leonardo" userId="S::lalvaradomenendez@deloitte.com::905d9c53-4bde-43eb-84a8-1d1744a10674" providerId="AD" clId="Web-{E0466F69-DC1A-4816-8834-FCD64CB4431B}" dt="2024-05-31T06:52:50.712" v="91"/>
          <ac:picMkLst>
            <pc:docMk/>
            <pc:sldMk cId="224413862" sldId="259"/>
            <ac:picMk id="11" creationId="{E75CDC3C-9C87-9207-CE98-90B3AF841462}"/>
          </ac:picMkLst>
        </pc:picChg>
        <pc:picChg chg="add del mod">
          <ac:chgData name="Alvarado Menendez, Leonardo" userId="S::lalvaradomenendez@deloitte.com::905d9c53-4bde-43eb-84a8-1d1744a10674" providerId="AD" clId="Web-{E0466F69-DC1A-4816-8834-FCD64CB4431B}" dt="2024-05-31T06:52:50.712" v="90"/>
          <ac:picMkLst>
            <pc:docMk/>
            <pc:sldMk cId="224413862" sldId="259"/>
            <ac:picMk id="12" creationId="{F3B29C46-7B5B-5137-1108-AD4ACF23AF6F}"/>
          </ac:picMkLst>
        </pc:picChg>
        <pc:picChg chg="add del mod">
          <ac:chgData name="Alvarado Menendez, Leonardo" userId="S::lalvaradomenendez@deloitte.com::905d9c53-4bde-43eb-84a8-1d1744a10674" providerId="AD" clId="Web-{E0466F69-DC1A-4816-8834-FCD64CB4431B}" dt="2024-05-31T06:52:50.712" v="89"/>
          <ac:picMkLst>
            <pc:docMk/>
            <pc:sldMk cId="224413862" sldId="259"/>
            <ac:picMk id="13" creationId="{56395BB8-638D-B682-D9EF-4726417CC22F}"/>
          </ac:picMkLst>
        </pc:picChg>
        <pc:picChg chg="add del mod">
          <ac:chgData name="Alvarado Menendez, Leonardo" userId="S::lalvaradomenendez@deloitte.com::905d9c53-4bde-43eb-84a8-1d1744a10674" providerId="AD" clId="Web-{E0466F69-DC1A-4816-8834-FCD64CB4431B}" dt="2024-05-31T06:52:50.712" v="88"/>
          <ac:picMkLst>
            <pc:docMk/>
            <pc:sldMk cId="224413862" sldId="259"/>
            <ac:picMk id="14" creationId="{9BB25C14-7597-5618-6F2F-C506C062DE85}"/>
          </ac:picMkLst>
        </pc:picChg>
        <pc:picChg chg="add del mod">
          <ac:chgData name="Alvarado Menendez, Leonardo" userId="S::lalvaradomenendez@deloitte.com::905d9c53-4bde-43eb-84a8-1d1744a10674" providerId="AD" clId="Web-{E0466F69-DC1A-4816-8834-FCD64CB4431B}" dt="2024-05-31T06:52:50.712" v="87"/>
          <ac:picMkLst>
            <pc:docMk/>
            <pc:sldMk cId="224413862" sldId="259"/>
            <ac:picMk id="15" creationId="{2F92AAB8-1865-AFB5-95FD-8F11B3545BCE}"/>
          </ac:picMkLst>
        </pc:picChg>
      </pc:sldChg>
      <pc:sldChg chg="modSp add ord replId">
        <pc:chgData name="Alvarado Menendez, Leonardo" userId="S::lalvaradomenendez@deloitte.com::905d9c53-4bde-43eb-84a8-1d1744a10674" providerId="AD" clId="Web-{E0466F69-DC1A-4816-8834-FCD64CB4431B}" dt="2024-05-31T06:55:01.826" v="128" actId="20577"/>
        <pc:sldMkLst>
          <pc:docMk/>
          <pc:sldMk cId="1398314866" sldId="3328"/>
        </pc:sldMkLst>
        <pc:spChg chg="mod">
          <ac:chgData name="Alvarado Menendez, Leonardo" userId="S::lalvaradomenendez@deloitte.com::905d9c53-4bde-43eb-84a8-1d1744a10674" providerId="AD" clId="Web-{E0466F69-DC1A-4816-8834-FCD64CB4431B}" dt="2024-05-31T06:55:01.826" v="128" actId="20577"/>
          <ac:spMkLst>
            <pc:docMk/>
            <pc:sldMk cId="1398314866" sldId="3328"/>
            <ac:spMk id="2" creationId="{B7BF1883-95FE-1B40-8C2F-8226B5B47C95}"/>
          </ac:spMkLst>
        </pc:spChg>
      </pc:sldChg>
    </pc:docChg>
  </pc:docChgLst>
  <pc:docChgLst>
    <pc:chgData name="Zhu, Aaron" userId="S::aazhu@deloitte.com::79eccb59-c0f8-4541-a452-428dafa76dae" providerId="AD" clId="Web-{F746B88C-EE08-E18D-7FDA-AFFE9675EADD}"/>
    <pc:docChg chg="mod addSld delSld modSld">
      <pc:chgData name="Zhu, Aaron" userId="S::aazhu@deloitte.com::79eccb59-c0f8-4541-a452-428dafa76dae" providerId="AD" clId="Web-{F746B88C-EE08-E18D-7FDA-AFFE9675EADD}" dt="2024-05-31T15:47:23.812" v="580" actId="1076"/>
      <pc:docMkLst>
        <pc:docMk/>
      </pc:docMkLst>
      <pc:sldChg chg="addSp delSp modSp add">
        <pc:chgData name="Zhu, Aaron" userId="S::aazhu@deloitte.com::79eccb59-c0f8-4541-a452-428dafa76dae" providerId="AD" clId="Web-{F746B88C-EE08-E18D-7FDA-AFFE9675EADD}" dt="2024-05-31T15:41:43.475" v="570" actId="20577"/>
        <pc:sldMkLst>
          <pc:docMk/>
          <pc:sldMk cId="1224480256" sldId="334"/>
        </pc:sldMkLst>
        <pc:spChg chg="add del mod">
          <ac:chgData name="Zhu, Aaron" userId="S::aazhu@deloitte.com::79eccb59-c0f8-4541-a452-428dafa76dae" providerId="AD" clId="Web-{F746B88C-EE08-E18D-7FDA-AFFE9675EADD}" dt="2024-05-31T15:07:29.773" v="562"/>
          <ac:spMkLst>
            <pc:docMk/>
            <pc:sldMk cId="1224480256" sldId="334"/>
            <ac:spMk id="3" creationId="{047FF797-67F2-F770-61C3-7C40BA339E51}"/>
          </ac:spMkLst>
        </pc:spChg>
        <pc:spChg chg="mod">
          <ac:chgData name="Zhu, Aaron" userId="S::aazhu@deloitte.com::79eccb59-c0f8-4541-a452-428dafa76dae" providerId="AD" clId="Web-{F746B88C-EE08-E18D-7FDA-AFFE9675EADD}" dt="2024-05-31T15:41:43.475" v="570" actId="20577"/>
          <ac:spMkLst>
            <pc:docMk/>
            <pc:sldMk cId="1224480256" sldId="334"/>
            <ac:spMk id="6" creationId="{F3CC1E21-C752-48A9-89F0-A8993097EE13}"/>
          </ac:spMkLst>
        </pc:spChg>
        <pc:spChg chg="mod">
          <ac:chgData name="Zhu, Aaron" userId="S::aazhu@deloitte.com::79eccb59-c0f8-4541-a452-428dafa76dae" providerId="AD" clId="Web-{F746B88C-EE08-E18D-7FDA-AFFE9675EADD}" dt="2024-05-31T14:53:07.045" v="95" actId="20577"/>
          <ac:spMkLst>
            <pc:docMk/>
            <pc:sldMk cId="1224480256" sldId="334"/>
            <ac:spMk id="10" creationId="{BFB83E42-5D4E-4566-B887-1553F705FE73}"/>
          </ac:spMkLst>
        </pc:spChg>
        <pc:spChg chg="mod">
          <ac:chgData name="Zhu, Aaron" userId="S::aazhu@deloitte.com::79eccb59-c0f8-4541-a452-428dafa76dae" providerId="AD" clId="Web-{F746B88C-EE08-E18D-7FDA-AFFE9675EADD}" dt="2024-05-31T15:06:30.037" v="554" actId="20577"/>
          <ac:spMkLst>
            <pc:docMk/>
            <pc:sldMk cId="1224480256" sldId="334"/>
            <ac:spMk id="14" creationId="{935FF258-720F-4D65-A652-9DD7D733F544}"/>
          </ac:spMkLst>
        </pc:spChg>
        <pc:spChg chg="mod">
          <ac:chgData name="Zhu, Aaron" userId="S::aazhu@deloitte.com::79eccb59-c0f8-4541-a452-428dafa76dae" providerId="AD" clId="Web-{F746B88C-EE08-E18D-7FDA-AFFE9675EADD}" dt="2024-05-31T14:53:13.248" v="123" actId="20577"/>
          <ac:spMkLst>
            <pc:docMk/>
            <pc:sldMk cId="1224480256" sldId="334"/>
            <ac:spMk id="23" creationId="{4DC7B1B1-D2BC-4F1D-A798-9C6C9654C1D6}"/>
          </ac:spMkLst>
        </pc:spChg>
        <pc:spChg chg="mod">
          <ac:chgData name="Zhu, Aaron" userId="S::aazhu@deloitte.com::79eccb59-c0f8-4541-a452-428dafa76dae" providerId="AD" clId="Web-{F746B88C-EE08-E18D-7FDA-AFFE9675EADD}" dt="2024-05-31T14:54:27.496" v="210" actId="20577"/>
          <ac:spMkLst>
            <pc:docMk/>
            <pc:sldMk cId="1224480256" sldId="334"/>
            <ac:spMk id="29" creationId="{50A8E7A7-9F8A-4245-A1D8-821AB0DD9666}"/>
          </ac:spMkLst>
        </pc:spChg>
        <pc:spChg chg="mod">
          <ac:chgData name="Zhu, Aaron" userId="S::aazhu@deloitte.com::79eccb59-c0f8-4541-a452-428dafa76dae" providerId="AD" clId="Web-{F746B88C-EE08-E18D-7FDA-AFFE9675EADD}" dt="2024-05-31T14:54:43.293" v="250" actId="20577"/>
          <ac:spMkLst>
            <pc:docMk/>
            <pc:sldMk cId="1224480256" sldId="334"/>
            <ac:spMk id="48" creationId="{ECD0EF2F-CCC5-4EBC-9435-DB8EFE61842B}"/>
          </ac:spMkLst>
        </pc:spChg>
        <pc:spChg chg="mod">
          <ac:chgData name="Zhu, Aaron" userId="S::aazhu@deloitte.com::79eccb59-c0f8-4541-a452-428dafa76dae" providerId="AD" clId="Web-{F746B88C-EE08-E18D-7FDA-AFFE9675EADD}" dt="2024-05-31T15:07:29.695" v="561" actId="20577"/>
          <ac:spMkLst>
            <pc:docMk/>
            <pc:sldMk cId="1224480256" sldId="334"/>
            <ac:spMk id="49" creationId="{3234BAF0-6512-4439-91C6-35DC95FB69FF}"/>
          </ac:spMkLst>
        </pc:spChg>
        <pc:spChg chg="del">
          <ac:chgData name="Zhu, Aaron" userId="S::aazhu@deloitte.com::79eccb59-c0f8-4541-a452-428dafa76dae" providerId="AD" clId="Web-{F746B88C-EE08-E18D-7FDA-AFFE9675EADD}" dt="2024-05-31T14:54:51.485" v="251"/>
          <ac:spMkLst>
            <pc:docMk/>
            <pc:sldMk cId="1224480256" sldId="334"/>
            <ac:spMk id="50" creationId="{91B30417-7688-43D3-B92D-A13D323A97D8}"/>
          </ac:spMkLst>
        </pc:spChg>
      </pc:sldChg>
      <pc:sldChg chg="addCm">
        <pc:chgData name="Zhu, Aaron" userId="S::aazhu@deloitte.com::79eccb59-c0f8-4541-a452-428dafa76dae" providerId="AD" clId="Web-{F746B88C-EE08-E18D-7FDA-AFFE9675EADD}" dt="2024-05-31T15:41:06.083" v="565"/>
        <pc:sldMkLst>
          <pc:docMk/>
          <pc:sldMk cId="3743183705" sldId="33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hu, Aaron" userId="S::aazhu@deloitte.com::79eccb59-c0f8-4541-a452-428dafa76dae" providerId="AD" clId="Web-{F746B88C-EE08-E18D-7FDA-AFFE9675EADD}" dt="2024-05-31T15:41:06.083" v="565"/>
              <pc2:cmMkLst xmlns:pc2="http://schemas.microsoft.com/office/powerpoint/2019/9/main/command">
                <pc:docMk/>
                <pc:sldMk cId="3743183705" sldId="337"/>
                <pc2:cmMk id="{D304D2A2-3FCF-4CCE-B3B0-449DF571B429}"/>
              </pc2:cmMkLst>
            </pc226:cmChg>
          </p:ext>
        </pc:extLst>
      </pc:sldChg>
      <pc:sldChg chg="addSp modSp addCm modCm">
        <pc:chgData name="Zhu, Aaron" userId="S::aazhu@deloitte.com::79eccb59-c0f8-4541-a452-428dafa76dae" providerId="AD" clId="Web-{F746B88C-EE08-E18D-7FDA-AFFE9675EADD}" dt="2024-05-31T15:47:23.812" v="580" actId="1076"/>
        <pc:sldMkLst>
          <pc:docMk/>
          <pc:sldMk cId="1402299992" sldId="372"/>
        </pc:sldMkLst>
        <pc:spChg chg="mod">
          <ac:chgData name="Zhu, Aaron" userId="S::aazhu@deloitte.com::79eccb59-c0f8-4541-a452-428dafa76dae" providerId="AD" clId="Web-{F746B88C-EE08-E18D-7FDA-AFFE9675EADD}" dt="2024-05-31T15:47:23.812" v="580" actId="1076"/>
          <ac:spMkLst>
            <pc:docMk/>
            <pc:sldMk cId="1402299992" sldId="372"/>
            <ac:spMk id="3" creationId="{E4AC4D8B-3C3E-48CA-939A-0E45C10ED43B}"/>
          </ac:spMkLst>
        </pc:spChg>
        <pc:picChg chg="add mod">
          <ac:chgData name="Zhu, Aaron" userId="S::aazhu@deloitte.com::79eccb59-c0f8-4541-a452-428dafa76dae" providerId="AD" clId="Web-{F746B88C-EE08-E18D-7FDA-AFFE9675EADD}" dt="2024-05-31T15:46:57.499" v="578" actId="1076"/>
          <ac:picMkLst>
            <pc:docMk/>
            <pc:sldMk cId="1402299992" sldId="372"/>
            <ac:picMk id="10" creationId="{13A12206-1756-BAAE-26D7-90FC5A9B8FB8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Zhu, Aaron" userId="S::aazhu@deloitte.com::79eccb59-c0f8-4541-a452-428dafa76dae" providerId="AD" clId="Web-{F746B88C-EE08-E18D-7FDA-AFFE9675EADD}" dt="2024-05-31T15:43:11.821" v="572"/>
              <pc2:cmMkLst xmlns:pc2="http://schemas.microsoft.com/office/powerpoint/2019/9/main/command">
                <pc:docMk/>
                <pc:sldMk cId="1402299992" sldId="372"/>
                <pc2:cmMk id="{049D5BDF-2B98-4FDC-8FB2-FEE8014FC8DA}"/>
              </pc2:cmMkLst>
            </pc226:cmChg>
          </p:ext>
        </pc:extLst>
      </pc:sldChg>
      <pc:sldChg chg="addCm">
        <pc:chgData name="Zhu, Aaron" userId="S::aazhu@deloitte.com::79eccb59-c0f8-4541-a452-428dafa76dae" providerId="AD" clId="Web-{F746B88C-EE08-E18D-7FDA-AFFE9675EADD}" dt="2024-05-31T15:39:22.066" v="564"/>
        <pc:sldMkLst>
          <pc:docMk/>
          <pc:sldMk cId="240753442" sldId="332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hu, Aaron" userId="S::aazhu@deloitte.com::79eccb59-c0f8-4541-a452-428dafa76dae" providerId="AD" clId="Web-{F746B88C-EE08-E18D-7FDA-AFFE9675EADD}" dt="2024-05-31T15:39:22.066" v="564"/>
              <pc2:cmMkLst xmlns:pc2="http://schemas.microsoft.com/office/powerpoint/2019/9/main/command">
                <pc:docMk/>
                <pc:sldMk cId="240753442" sldId="3326"/>
                <pc2:cmMk id="{1E960015-65C4-40CF-8DC5-216980753D4D}"/>
              </pc2:cmMkLst>
            </pc226:cmChg>
          </p:ext>
        </pc:extLst>
      </pc:sldChg>
      <pc:sldChg chg="del">
        <pc:chgData name="Zhu, Aaron" userId="S::aazhu@deloitte.com::79eccb59-c0f8-4541-a452-428dafa76dae" providerId="AD" clId="Web-{F746B88C-EE08-E18D-7FDA-AFFE9675EADD}" dt="2024-05-31T14:56:13.427" v="436"/>
        <pc:sldMkLst>
          <pc:docMk/>
          <pc:sldMk cId="4072540814" sldId="3329"/>
        </pc:sldMkLst>
      </pc:sldChg>
      <pc:sldMasterChg chg="addSldLayout">
        <pc:chgData name="Zhu, Aaron" userId="S::aazhu@deloitte.com::79eccb59-c0f8-4541-a452-428dafa76dae" providerId="AD" clId="Web-{F746B88C-EE08-E18D-7FDA-AFFE9675EADD}" dt="2024-05-31T14:52:11.684" v="0"/>
        <pc:sldMasterMkLst>
          <pc:docMk/>
          <pc:sldMasterMk cId="1968898803" sldId="2147483648"/>
        </pc:sldMasterMkLst>
        <pc:sldLayoutChg chg="add">
          <pc:chgData name="Zhu, Aaron" userId="S::aazhu@deloitte.com::79eccb59-c0f8-4541-a452-428dafa76dae" providerId="AD" clId="Web-{F746B88C-EE08-E18D-7FDA-AFFE9675EADD}" dt="2024-05-31T14:52:11.684" v="0"/>
          <pc:sldLayoutMkLst>
            <pc:docMk/>
            <pc:sldMasterMk cId="1968898803" sldId="2147483648"/>
            <pc:sldLayoutMk cId="584669312" sldId="2147483665"/>
          </pc:sldLayoutMkLst>
        </pc:sldLayoutChg>
      </pc:sldMasterChg>
    </pc:docChg>
  </pc:docChgLst>
  <pc:docChgLst>
    <pc:chgData name="Morales Santamaria, Paola Jacqueline" userId="S::pmoralessantamari@deloitte.com::92f6e0a2-2c0c-4d45-87f1-23ee885d52b7" providerId="AD" clId="Web-{49BFF702-66E2-9584-6248-0D136106C537}"/>
    <pc:docChg chg="addSld modSld">
      <pc:chgData name="Morales Santamaria, Paola Jacqueline" userId="S::pmoralessantamari@deloitte.com::92f6e0a2-2c0c-4d45-87f1-23ee885d52b7" providerId="AD" clId="Web-{49BFF702-66E2-9584-6248-0D136106C537}" dt="2024-05-31T18:13:34.060" v="154" actId="1076"/>
      <pc:docMkLst>
        <pc:docMk/>
      </pc:docMkLst>
      <pc:sldChg chg="addSp delSp modSp add replId">
        <pc:chgData name="Morales Santamaria, Paola Jacqueline" userId="S::pmoralessantamari@deloitte.com::92f6e0a2-2c0c-4d45-87f1-23ee885d52b7" providerId="AD" clId="Web-{49BFF702-66E2-9584-6248-0D136106C537}" dt="2024-05-31T16:27:56.259" v="146" actId="14100"/>
        <pc:sldMkLst>
          <pc:docMk/>
          <pc:sldMk cId="2854881241" sldId="3330"/>
        </pc:sldMkLst>
        <pc:spChg chg="del">
          <ac:chgData name="Morales Santamaria, Paola Jacqueline" userId="S::pmoralessantamari@deloitte.com::92f6e0a2-2c0c-4d45-87f1-23ee885d52b7" providerId="AD" clId="Web-{49BFF702-66E2-9584-6248-0D136106C537}" dt="2024-05-31T15:55:38.439" v="13"/>
          <ac:spMkLst>
            <pc:docMk/>
            <pc:sldMk cId="2854881241" sldId="3330"/>
            <ac:spMk id="7" creationId="{647B59C5-E2B2-4169-9C8A-BDF8D4EEF78D}"/>
          </ac:spMkLst>
        </pc:spChg>
        <pc:spChg chg="del">
          <ac:chgData name="Morales Santamaria, Paola Jacqueline" userId="S::pmoralessantamari@deloitte.com::92f6e0a2-2c0c-4d45-87f1-23ee885d52b7" providerId="AD" clId="Web-{49BFF702-66E2-9584-6248-0D136106C537}" dt="2024-05-31T15:55:35.407" v="12"/>
          <ac:spMkLst>
            <pc:docMk/>
            <pc:sldMk cId="2854881241" sldId="3330"/>
            <ac:spMk id="8" creationId="{1F594C0B-7673-4529-94CF-534ED0E6E62A}"/>
          </ac:spMkLst>
        </pc:spChg>
        <pc:spChg chg="del">
          <ac:chgData name="Morales Santamaria, Paola Jacqueline" userId="S::pmoralessantamari@deloitte.com::92f6e0a2-2c0c-4d45-87f1-23ee885d52b7" providerId="AD" clId="Web-{49BFF702-66E2-9584-6248-0D136106C537}" dt="2024-05-31T15:55:31.626" v="11"/>
          <ac:spMkLst>
            <pc:docMk/>
            <pc:sldMk cId="2854881241" sldId="3330"/>
            <ac:spMk id="9" creationId="{BD1848F0-432B-47AA-913D-1900831C01BE}"/>
          </ac:spMkLst>
        </pc:spChg>
        <pc:spChg chg="del">
          <ac:chgData name="Morales Santamaria, Paola Jacqueline" userId="S::pmoralessantamari@deloitte.com::92f6e0a2-2c0c-4d45-87f1-23ee885d52b7" providerId="AD" clId="Web-{49BFF702-66E2-9584-6248-0D136106C537}" dt="2024-05-31T15:55:30.516" v="10"/>
          <ac:spMkLst>
            <pc:docMk/>
            <pc:sldMk cId="2854881241" sldId="3330"/>
            <ac:spMk id="10" creationId="{BF4B3AB4-0DC0-45E4-A1AD-821F2BF1BCA2}"/>
          </ac:spMkLst>
        </pc:spChg>
        <pc:spChg chg="del">
          <ac:chgData name="Morales Santamaria, Paola Jacqueline" userId="S::pmoralessantamari@deloitte.com::92f6e0a2-2c0c-4d45-87f1-23ee885d52b7" providerId="AD" clId="Web-{49BFF702-66E2-9584-6248-0D136106C537}" dt="2024-05-31T15:55:26.094" v="8"/>
          <ac:spMkLst>
            <pc:docMk/>
            <pc:sldMk cId="2854881241" sldId="3330"/>
            <ac:spMk id="12" creationId="{6AD33F43-B326-400C-978C-DB68C4BF7A86}"/>
          </ac:spMkLst>
        </pc:spChg>
        <pc:spChg chg="del">
          <ac:chgData name="Morales Santamaria, Paola Jacqueline" userId="S::pmoralessantamari@deloitte.com::92f6e0a2-2c0c-4d45-87f1-23ee885d52b7" providerId="AD" clId="Web-{49BFF702-66E2-9584-6248-0D136106C537}" dt="2024-05-31T15:54:48.171" v="1"/>
          <ac:spMkLst>
            <pc:docMk/>
            <pc:sldMk cId="2854881241" sldId="3330"/>
            <ac:spMk id="13" creationId="{3B7FE008-80CC-4C7E-AEF9-954469314749}"/>
          </ac:spMkLst>
        </pc:spChg>
        <pc:spChg chg="del">
          <ac:chgData name="Morales Santamaria, Paola Jacqueline" userId="S::pmoralessantamari@deloitte.com::92f6e0a2-2c0c-4d45-87f1-23ee885d52b7" providerId="AD" clId="Web-{49BFF702-66E2-9584-6248-0D136106C537}" dt="2024-05-31T15:55:21.094" v="7"/>
          <ac:spMkLst>
            <pc:docMk/>
            <pc:sldMk cId="2854881241" sldId="3330"/>
            <ac:spMk id="19" creationId="{5C034B0A-B22E-459D-B19D-F9C4EC2FDC05}"/>
          </ac:spMkLst>
        </pc:spChg>
        <pc:spChg chg="del">
          <ac:chgData name="Morales Santamaria, Paola Jacqueline" userId="S::pmoralessantamari@deloitte.com::92f6e0a2-2c0c-4d45-87f1-23ee885d52b7" providerId="AD" clId="Web-{49BFF702-66E2-9584-6248-0D136106C537}" dt="2024-05-31T15:55:45.923" v="15"/>
          <ac:spMkLst>
            <pc:docMk/>
            <pc:sldMk cId="2854881241" sldId="3330"/>
            <ac:spMk id="20" creationId="{C736BB3F-7FAB-42BC-B819-EDE8A23CCB52}"/>
          </ac:spMkLst>
        </pc:spChg>
        <pc:spChg chg="add del mod">
          <ac:chgData name="Morales Santamaria, Paola Jacqueline" userId="S::pmoralessantamari@deloitte.com::92f6e0a2-2c0c-4d45-87f1-23ee885d52b7" providerId="AD" clId="Web-{49BFF702-66E2-9584-6248-0D136106C537}" dt="2024-05-31T16:27:23.415" v="138"/>
          <ac:spMkLst>
            <pc:docMk/>
            <pc:sldMk cId="2854881241" sldId="3330"/>
            <ac:spMk id="41" creationId="{63D591E8-A2A8-2B67-411E-302A927EA215}"/>
          </ac:spMkLst>
        </pc:spChg>
        <pc:spChg chg="add del mod">
          <ac:chgData name="Morales Santamaria, Paola Jacqueline" userId="S::pmoralessantamari@deloitte.com::92f6e0a2-2c0c-4d45-87f1-23ee885d52b7" providerId="AD" clId="Web-{49BFF702-66E2-9584-6248-0D136106C537}" dt="2024-05-31T16:04:49.849" v="88"/>
          <ac:spMkLst>
            <pc:docMk/>
            <pc:sldMk cId="2854881241" sldId="3330"/>
            <ac:spMk id="42" creationId="{1517B7CA-CA0C-1B53-178D-2CAC4330C4FA}"/>
          </ac:spMkLst>
        </pc:spChg>
        <pc:spChg chg="add del mod">
          <ac:chgData name="Morales Santamaria, Paola Jacqueline" userId="S::pmoralessantamari@deloitte.com::92f6e0a2-2c0c-4d45-87f1-23ee885d52b7" providerId="AD" clId="Web-{49BFF702-66E2-9584-6248-0D136106C537}" dt="2024-05-31T16:27:19.008" v="137"/>
          <ac:spMkLst>
            <pc:docMk/>
            <pc:sldMk cId="2854881241" sldId="3330"/>
            <ac:spMk id="43" creationId="{29D4626B-AFB3-E567-5764-39AD6212A477}"/>
          </ac:spMkLst>
        </pc:spChg>
        <pc:graphicFrameChg chg="del">
          <ac:chgData name="Morales Santamaria, Paola Jacqueline" userId="S::pmoralessantamari@deloitte.com::92f6e0a2-2c0c-4d45-87f1-23ee885d52b7" providerId="AD" clId="Web-{49BFF702-66E2-9584-6248-0D136106C537}" dt="2024-05-31T15:55:43.267" v="14"/>
          <ac:graphicFrameMkLst>
            <pc:docMk/>
            <pc:sldMk cId="2854881241" sldId="3330"/>
            <ac:graphicFrameMk id="67" creationId="{4AF1B351-CF6C-F92F-54B2-BA0A3FA6393D}"/>
          </ac:graphicFrameMkLst>
        </pc:graphicFrameChg>
        <pc:picChg chg="add mod">
          <ac:chgData name="Morales Santamaria, Paola Jacqueline" userId="S::pmoralessantamari@deloitte.com::92f6e0a2-2c0c-4d45-87f1-23ee885d52b7" providerId="AD" clId="Web-{49BFF702-66E2-9584-6248-0D136106C537}" dt="2024-05-31T16:27:47.525" v="144" actId="1076"/>
          <ac:picMkLst>
            <pc:docMk/>
            <pc:sldMk cId="2854881241" sldId="3330"/>
            <ac:picMk id="39" creationId="{D71E5C38-7477-D841-76AD-1B702C2534FD}"/>
          </ac:picMkLst>
        </pc:picChg>
        <pc:picChg chg="add mod">
          <ac:chgData name="Morales Santamaria, Paola Jacqueline" userId="S::pmoralessantamari@deloitte.com::92f6e0a2-2c0c-4d45-87f1-23ee885d52b7" providerId="AD" clId="Web-{49BFF702-66E2-9584-6248-0D136106C537}" dt="2024-05-31T16:27:56.259" v="146" actId="14100"/>
          <ac:picMkLst>
            <pc:docMk/>
            <pc:sldMk cId="2854881241" sldId="3330"/>
            <ac:picMk id="40" creationId="{3B1ABCC3-E988-D93B-1723-198CBE80FF61}"/>
          </ac:picMkLst>
        </pc:picChg>
        <pc:cxnChg chg="del">
          <ac:chgData name="Morales Santamaria, Paola Jacqueline" userId="S::pmoralessantamari@deloitte.com::92f6e0a2-2c0c-4d45-87f1-23ee885d52b7" providerId="AD" clId="Web-{49BFF702-66E2-9584-6248-0D136106C537}" dt="2024-05-31T15:55:27.829" v="9"/>
          <ac:cxnSpMkLst>
            <pc:docMk/>
            <pc:sldMk cId="2854881241" sldId="3330"/>
            <ac:cxnSpMk id="11" creationId="{72710C6B-0669-4866-A4BA-7FA500598F1F}"/>
          </ac:cxnSpMkLst>
        </pc:cxnChg>
        <pc:cxnChg chg="add del mod">
          <ac:chgData name="Morales Santamaria, Paola Jacqueline" userId="S::pmoralessantamari@deloitte.com::92f6e0a2-2c0c-4d45-87f1-23ee885d52b7" providerId="AD" clId="Web-{49BFF702-66E2-9584-6248-0D136106C537}" dt="2024-05-31T16:10:20.252" v="130"/>
          <ac:cxnSpMkLst>
            <pc:docMk/>
            <pc:sldMk cId="2854881241" sldId="3330"/>
            <ac:cxnSpMk id="21" creationId="{6BC8E7E2-2D2C-4737-8B8D-A0A78E458C22}"/>
          </ac:cxnSpMkLst>
        </pc:cxnChg>
        <pc:cxnChg chg="del">
          <ac:chgData name="Morales Santamaria, Paola Jacqueline" userId="S::pmoralessantamari@deloitte.com::92f6e0a2-2c0c-4d45-87f1-23ee885d52b7" providerId="AD" clId="Web-{49BFF702-66E2-9584-6248-0D136106C537}" dt="2024-05-31T15:55:48.673" v="16"/>
          <ac:cxnSpMkLst>
            <pc:docMk/>
            <pc:sldMk cId="2854881241" sldId="3330"/>
            <ac:cxnSpMk id="22" creationId="{DB0AC9D8-80BA-4FFE-9AD2-CD92A2CBC95F}"/>
          </ac:cxnSpMkLst>
        </pc:cxnChg>
      </pc:sldChg>
      <pc:sldChg chg="addSp delSp modSp add replId">
        <pc:chgData name="Morales Santamaria, Paola Jacqueline" userId="S::pmoralessantamari@deloitte.com::92f6e0a2-2c0c-4d45-87f1-23ee885d52b7" providerId="AD" clId="Web-{49BFF702-66E2-9584-6248-0D136106C537}" dt="2024-05-31T18:13:34.060" v="154" actId="1076"/>
        <pc:sldMkLst>
          <pc:docMk/>
          <pc:sldMk cId="1613324825" sldId="3331"/>
        </pc:sldMkLst>
        <pc:spChg chg="del">
          <ac:chgData name="Morales Santamaria, Paola Jacqueline" userId="S::pmoralessantamari@deloitte.com::92f6e0a2-2c0c-4d45-87f1-23ee885d52b7" providerId="AD" clId="Web-{49BFF702-66E2-9584-6248-0D136106C537}" dt="2024-05-31T16:06:58.479" v="114"/>
          <ac:spMkLst>
            <pc:docMk/>
            <pc:sldMk cId="1613324825" sldId="3331"/>
            <ac:spMk id="41" creationId="{63D591E8-A2A8-2B67-411E-302A927EA215}"/>
          </ac:spMkLst>
        </pc:spChg>
        <pc:spChg chg="del mod">
          <ac:chgData name="Morales Santamaria, Paola Jacqueline" userId="S::pmoralessantamari@deloitte.com::92f6e0a2-2c0c-4d45-87f1-23ee885d52b7" providerId="AD" clId="Web-{49BFF702-66E2-9584-6248-0D136106C537}" dt="2024-05-31T16:06:57.229" v="113"/>
          <ac:spMkLst>
            <pc:docMk/>
            <pc:sldMk cId="1613324825" sldId="3331"/>
            <ac:spMk id="43" creationId="{29D4626B-AFB3-E567-5764-39AD6212A477}"/>
          </ac:spMkLst>
        </pc:spChg>
        <pc:picChg chg="add mod">
          <ac:chgData name="Morales Santamaria, Paola Jacqueline" userId="S::pmoralessantamari@deloitte.com::92f6e0a2-2c0c-4d45-87f1-23ee885d52b7" providerId="AD" clId="Web-{49BFF702-66E2-9584-6248-0D136106C537}" dt="2024-05-31T18:13:31.388" v="153" actId="1076"/>
          <ac:picMkLst>
            <pc:docMk/>
            <pc:sldMk cId="1613324825" sldId="3331"/>
            <ac:picMk id="3" creationId="{1F29BB92-B64F-DBF0-E935-8704DD36F0D3}"/>
          </ac:picMkLst>
        </pc:picChg>
        <pc:picChg chg="add mod">
          <ac:chgData name="Morales Santamaria, Paola Jacqueline" userId="S::pmoralessantamari@deloitte.com::92f6e0a2-2c0c-4d45-87f1-23ee885d52b7" providerId="AD" clId="Web-{49BFF702-66E2-9584-6248-0D136106C537}" dt="2024-05-31T18:13:34.060" v="154" actId="1076"/>
          <ac:picMkLst>
            <pc:docMk/>
            <pc:sldMk cId="1613324825" sldId="3331"/>
            <ac:picMk id="4" creationId="{02AEEB9A-0B38-B28D-E7BE-8C067379879A}"/>
          </ac:picMkLst>
        </pc:picChg>
        <pc:picChg chg="del">
          <ac:chgData name="Morales Santamaria, Paola Jacqueline" userId="S::pmoralessantamari@deloitte.com::92f6e0a2-2c0c-4d45-87f1-23ee885d52b7" providerId="AD" clId="Web-{49BFF702-66E2-9584-6248-0D136106C537}" dt="2024-05-31T16:06:51.729" v="110"/>
          <ac:picMkLst>
            <pc:docMk/>
            <pc:sldMk cId="1613324825" sldId="3331"/>
            <ac:picMk id="39" creationId="{D71E5C38-7477-D841-76AD-1B702C2534FD}"/>
          </ac:picMkLst>
        </pc:picChg>
        <pc:picChg chg="del">
          <ac:chgData name="Morales Santamaria, Paola Jacqueline" userId="S::pmoralessantamari@deloitte.com::92f6e0a2-2c0c-4d45-87f1-23ee885d52b7" providerId="AD" clId="Web-{49BFF702-66E2-9584-6248-0D136106C537}" dt="2024-05-31T16:06:53.026" v="111"/>
          <ac:picMkLst>
            <pc:docMk/>
            <pc:sldMk cId="1613324825" sldId="3331"/>
            <ac:picMk id="40" creationId="{3B1ABCC3-E988-D93B-1723-198CBE80FF61}"/>
          </ac:picMkLst>
        </pc:picChg>
        <pc:cxnChg chg="del">
          <ac:chgData name="Morales Santamaria, Paola Jacqueline" userId="S::pmoralessantamari@deloitte.com::92f6e0a2-2c0c-4d45-87f1-23ee885d52b7" providerId="AD" clId="Web-{49BFF702-66E2-9584-6248-0D136106C537}" dt="2024-05-31T16:10:27.190" v="131"/>
          <ac:cxnSpMkLst>
            <pc:docMk/>
            <pc:sldMk cId="1613324825" sldId="3331"/>
            <ac:cxnSpMk id="21" creationId="{6BC8E7E2-2D2C-4737-8B8D-A0A78E458C22}"/>
          </ac:cxnSpMkLst>
        </pc:cxnChg>
      </pc:sldChg>
    </pc:docChg>
  </pc:docChgLst>
  <pc:docChgLst>
    <pc:chgData name="Rice, Daniel I" userId="S::drice@deloitte.com::98c2cb33-0d7c-489d-a193-7e1234fa5e89" providerId="AD" clId="Web-{2444F407-9FD6-4838-D03A-30F6A2D6FB31}"/>
    <pc:docChg chg="addSld delSld modSld">
      <pc:chgData name="Rice, Daniel I" userId="S::drice@deloitte.com::98c2cb33-0d7c-489d-a193-7e1234fa5e89" providerId="AD" clId="Web-{2444F407-9FD6-4838-D03A-30F6A2D6FB31}" dt="2024-05-31T17:36:02.790" v="1677" actId="1076"/>
      <pc:docMkLst>
        <pc:docMk/>
      </pc:docMkLst>
      <pc:sldChg chg="addSp delSp modSp add">
        <pc:chgData name="Rice, Daniel I" userId="S::drice@deloitte.com::98c2cb33-0d7c-489d-a193-7e1234fa5e89" providerId="AD" clId="Web-{2444F407-9FD6-4838-D03A-30F6A2D6FB31}" dt="2024-05-31T15:40:27.346" v="633" actId="1076"/>
        <pc:sldMkLst>
          <pc:docMk/>
          <pc:sldMk cId="3743183705" sldId="337"/>
        </pc:sldMkLst>
        <pc:spChg chg="mod">
          <ac:chgData name="Rice, Daniel I" userId="S::drice@deloitte.com::98c2cb33-0d7c-489d-a193-7e1234fa5e89" providerId="AD" clId="Web-{2444F407-9FD6-4838-D03A-30F6A2D6FB31}" dt="2024-05-31T14:57:20.340" v="263" actId="20577"/>
          <ac:spMkLst>
            <pc:docMk/>
            <pc:sldMk cId="3743183705" sldId="337"/>
            <ac:spMk id="2" creationId="{DB9C6C3C-DC16-46FA-9E48-A7B015DA9E1A}"/>
          </ac:spMkLst>
        </pc:spChg>
        <pc:spChg chg="del mod">
          <ac:chgData name="Rice, Daniel I" userId="S::drice@deloitte.com::98c2cb33-0d7c-489d-a193-7e1234fa5e89" providerId="AD" clId="Web-{2444F407-9FD6-4838-D03A-30F6A2D6FB31}" dt="2024-05-31T14:57:14.246" v="248"/>
          <ac:spMkLst>
            <pc:docMk/>
            <pc:sldMk cId="3743183705" sldId="337"/>
            <ac:spMk id="3" creationId="{4A3FA3D2-AB45-4B36-B5FC-8E5501F07A8E}"/>
          </ac:spMkLst>
        </pc:spChg>
        <pc:spChg chg="del">
          <ac:chgData name="Rice, Daniel I" userId="S::drice@deloitte.com::98c2cb33-0d7c-489d-a193-7e1234fa5e89" providerId="AD" clId="Web-{2444F407-9FD6-4838-D03A-30F6A2D6FB31}" dt="2024-05-31T14:56:58.667" v="243"/>
          <ac:spMkLst>
            <pc:docMk/>
            <pc:sldMk cId="3743183705" sldId="337"/>
            <ac:spMk id="4" creationId="{F7232AF6-3265-46BC-A99B-3D7EC6178A7E}"/>
          </ac:spMkLst>
        </pc:spChg>
        <pc:spChg chg="del">
          <ac:chgData name="Rice, Daniel I" userId="S::drice@deloitte.com::98c2cb33-0d7c-489d-a193-7e1234fa5e89" providerId="AD" clId="Web-{2444F407-9FD6-4838-D03A-30F6A2D6FB31}" dt="2024-05-31T14:56:57.073" v="242"/>
          <ac:spMkLst>
            <pc:docMk/>
            <pc:sldMk cId="3743183705" sldId="337"/>
            <ac:spMk id="5" creationId="{C54A6522-E4F4-41BD-AAC7-27F50EB949D6}"/>
          </ac:spMkLst>
        </pc:spChg>
        <pc:spChg chg="mod">
          <ac:chgData name="Rice, Daniel I" userId="S::drice@deloitte.com::98c2cb33-0d7c-489d-a193-7e1234fa5e89" providerId="AD" clId="Web-{2444F407-9FD6-4838-D03A-30F6A2D6FB31}" dt="2024-05-31T15:40:27.346" v="633" actId="1076"/>
          <ac:spMkLst>
            <pc:docMk/>
            <pc:sldMk cId="3743183705" sldId="337"/>
            <ac:spMk id="13" creationId="{3B7FE008-80CC-4C7E-AEF9-954469314749}"/>
          </ac:spMkLst>
        </pc:spChg>
        <pc:spChg chg="del">
          <ac:chgData name="Rice, Daniel I" userId="S::drice@deloitte.com::98c2cb33-0d7c-489d-a193-7e1234fa5e89" providerId="AD" clId="Web-{2444F407-9FD6-4838-D03A-30F6A2D6FB31}" dt="2024-05-31T14:59:07.092" v="516"/>
          <ac:spMkLst>
            <pc:docMk/>
            <pc:sldMk cId="3743183705" sldId="337"/>
            <ac:spMk id="14" creationId="{C4A9A149-2C82-4F7B-8B94-39F5A2755A62}"/>
          </ac:spMkLst>
        </pc:spChg>
        <pc:spChg chg="del">
          <ac:chgData name="Rice, Daniel I" userId="S::drice@deloitte.com::98c2cb33-0d7c-489d-a193-7e1234fa5e89" providerId="AD" clId="Web-{2444F407-9FD6-4838-D03A-30F6A2D6FB31}" dt="2024-05-31T14:59:10.358" v="517"/>
          <ac:spMkLst>
            <pc:docMk/>
            <pc:sldMk cId="3743183705" sldId="337"/>
            <ac:spMk id="15" creationId="{859278E0-9C3C-471B-99AF-5276BF3C77B6}"/>
          </ac:spMkLst>
        </pc:spChg>
        <pc:spChg chg="del mod">
          <ac:chgData name="Rice, Daniel I" userId="S::drice@deloitte.com::98c2cb33-0d7c-489d-a193-7e1234fa5e89" providerId="AD" clId="Web-{2444F407-9FD6-4838-D03A-30F6A2D6FB31}" dt="2024-05-31T14:59:12.030" v="519"/>
          <ac:spMkLst>
            <pc:docMk/>
            <pc:sldMk cId="3743183705" sldId="337"/>
            <ac:spMk id="16" creationId="{7A293ABD-4BE3-4CA0-8415-C91B1D695ED0}"/>
          </ac:spMkLst>
        </pc:spChg>
        <pc:spChg chg="del mod">
          <ac:chgData name="Rice, Daniel I" userId="S::drice@deloitte.com::98c2cb33-0d7c-489d-a193-7e1234fa5e89" providerId="AD" clId="Web-{2444F407-9FD6-4838-D03A-30F6A2D6FB31}" dt="2024-05-31T14:59:15.358" v="521"/>
          <ac:spMkLst>
            <pc:docMk/>
            <pc:sldMk cId="3743183705" sldId="337"/>
            <ac:spMk id="17" creationId="{CB06549B-601D-4C04-A692-6BB3A54D5DD2}"/>
          </ac:spMkLst>
        </pc:spChg>
        <pc:spChg chg="del mod">
          <ac:chgData name="Rice, Daniel I" userId="S::drice@deloitte.com::98c2cb33-0d7c-489d-a193-7e1234fa5e89" providerId="AD" clId="Web-{2444F407-9FD6-4838-D03A-30F6A2D6FB31}" dt="2024-05-31T14:59:19.390" v="523"/>
          <ac:spMkLst>
            <pc:docMk/>
            <pc:sldMk cId="3743183705" sldId="337"/>
            <ac:spMk id="18" creationId="{02285E4C-114A-43DB-814C-568BCB0A490F}"/>
          </ac:spMkLst>
        </pc:spChg>
        <pc:spChg chg="mod">
          <ac:chgData name="Rice, Daniel I" userId="S::drice@deloitte.com::98c2cb33-0d7c-489d-a193-7e1234fa5e89" providerId="AD" clId="Web-{2444F407-9FD6-4838-D03A-30F6A2D6FB31}" dt="2024-05-31T14:57:38.418" v="293" actId="20577"/>
          <ac:spMkLst>
            <pc:docMk/>
            <pc:sldMk cId="3743183705" sldId="337"/>
            <ac:spMk id="19" creationId="{5C034B0A-B22E-459D-B19D-F9C4EC2FDC05}"/>
          </ac:spMkLst>
        </pc:spChg>
        <pc:spChg chg="mod">
          <ac:chgData name="Rice, Daniel I" userId="S::drice@deloitte.com::98c2cb33-0d7c-489d-a193-7e1234fa5e89" providerId="AD" clId="Web-{2444F407-9FD6-4838-D03A-30F6A2D6FB31}" dt="2024-05-31T14:59:03.014" v="515" actId="20577"/>
          <ac:spMkLst>
            <pc:docMk/>
            <pc:sldMk cId="3743183705" sldId="337"/>
            <ac:spMk id="20" creationId="{C736BB3F-7FAB-42BC-B819-EDE8A23CCB52}"/>
          </ac:spMkLst>
        </pc:spChg>
        <pc:spChg chg="add del mod">
          <ac:chgData name="Rice, Daniel I" userId="S::drice@deloitte.com::98c2cb33-0d7c-489d-a193-7e1234fa5e89" providerId="AD" clId="Web-{2444F407-9FD6-4838-D03A-30F6A2D6FB31}" dt="2024-05-31T14:57:09.433" v="246"/>
          <ac:spMkLst>
            <pc:docMk/>
            <pc:sldMk cId="3743183705" sldId="337"/>
            <ac:spMk id="24" creationId="{9793BA40-AAE8-EC8A-4AA1-72EC267ED2C6}"/>
          </ac:spMkLst>
        </pc:spChg>
        <pc:spChg chg="add del mod">
          <ac:chgData name="Rice, Daniel I" userId="S::drice@deloitte.com::98c2cb33-0d7c-489d-a193-7e1234fa5e89" providerId="AD" clId="Web-{2444F407-9FD6-4838-D03A-30F6A2D6FB31}" dt="2024-05-31T14:57:23.012" v="264"/>
          <ac:spMkLst>
            <pc:docMk/>
            <pc:sldMk cId="3743183705" sldId="337"/>
            <ac:spMk id="28" creationId="{9D94ADCB-AE4E-1E6D-9C49-CFC19CB1E360}"/>
          </ac:spMkLst>
        </pc:spChg>
        <pc:spChg chg="add del">
          <ac:chgData name="Rice, Daniel I" userId="S::drice@deloitte.com::98c2cb33-0d7c-489d-a193-7e1234fa5e89" providerId="AD" clId="Web-{2444F407-9FD6-4838-D03A-30F6A2D6FB31}" dt="2024-05-31T14:59:34.437" v="529"/>
          <ac:spMkLst>
            <pc:docMk/>
            <pc:sldMk cId="3743183705" sldId="337"/>
            <ac:spMk id="30" creationId="{493DFDF1-DAE7-8BFB-1C7F-7AE75A4250EE}"/>
          </ac:spMkLst>
        </pc:spChg>
        <pc:graphicFrameChg chg="add del mod">
          <ac:chgData name="Rice, Daniel I" userId="S::drice@deloitte.com::98c2cb33-0d7c-489d-a193-7e1234fa5e89" providerId="AD" clId="Web-{2444F407-9FD6-4838-D03A-30F6A2D6FB31}" dt="2024-05-31T14:59:34.437" v="528"/>
          <ac:graphicFrameMkLst>
            <pc:docMk/>
            <pc:sldMk cId="3743183705" sldId="337"/>
            <ac:graphicFrameMk id="32" creationId="{2B0C31ED-DC20-CE3D-95F3-EC2D2E9D9FB5}"/>
          </ac:graphicFrameMkLst>
        </pc:graphicFrameChg>
        <pc:graphicFrameChg chg="add mod">
          <ac:chgData name="Rice, Daniel I" userId="S::drice@deloitte.com::98c2cb33-0d7c-489d-a193-7e1234fa5e89" providerId="AD" clId="Web-{2444F407-9FD6-4838-D03A-30F6A2D6FB31}" dt="2024-05-31T14:59:55.156" v="537" actId="1076"/>
          <ac:graphicFrameMkLst>
            <pc:docMk/>
            <pc:sldMk cId="3743183705" sldId="337"/>
            <ac:graphicFrameMk id="67" creationId="{4AF1B351-CF6C-F92F-54B2-BA0A3FA6393D}"/>
          </ac:graphicFrameMkLst>
        </pc:graphicFrameChg>
      </pc:sldChg>
      <pc:sldChg chg="modSp">
        <pc:chgData name="Rice, Daniel I" userId="S::drice@deloitte.com::98c2cb33-0d7c-489d-a193-7e1234fa5e89" providerId="AD" clId="Web-{2444F407-9FD6-4838-D03A-30F6A2D6FB31}" dt="2024-05-31T17:33:20.239" v="1676" actId="14100"/>
        <pc:sldMkLst>
          <pc:docMk/>
          <pc:sldMk cId="240753442" sldId="3326"/>
        </pc:sldMkLst>
        <pc:spChg chg="mod">
          <ac:chgData name="Rice, Daniel I" userId="S::drice@deloitte.com::98c2cb33-0d7c-489d-a193-7e1234fa5e89" providerId="AD" clId="Web-{2444F407-9FD6-4838-D03A-30F6A2D6FB31}" dt="2024-05-31T17:33:20.239" v="1676" actId="14100"/>
          <ac:spMkLst>
            <pc:docMk/>
            <pc:sldMk cId="240753442" sldId="3326"/>
            <ac:spMk id="9" creationId="{BF155E4A-7AD8-3F63-8A1E-DFCE998D0FF2}"/>
          </ac:spMkLst>
        </pc:spChg>
      </pc:sldChg>
      <pc:sldChg chg="modSp new del">
        <pc:chgData name="Rice, Daniel I" userId="S::drice@deloitte.com::98c2cb33-0d7c-489d-a193-7e1234fa5e89" providerId="AD" clId="Web-{2444F407-9FD6-4838-D03A-30F6A2D6FB31}" dt="2024-05-31T15:00:05.047" v="538"/>
        <pc:sldMkLst>
          <pc:docMk/>
          <pc:sldMk cId="1553775843" sldId="3328"/>
        </pc:sldMkLst>
        <pc:spChg chg="mod">
          <ac:chgData name="Rice, Daniel I" userId="S::drice@deloitte.com::98c2cb33-0d7c-489d-a193-7e1234fa5e89" providerId="AD" clId="Web-{2444F407-9FD6-4838-D03A-30F6A2D6FB31}" dt="2024-05-31T14:46:22.135" v="14" actId="1076"/>
          <ac:spMkLst>
            <pc:docMk/>
            <pc:sldMk cId="1553775843" sldId="3328"/>
            <ac:spMk id="2" creationId="{072947A4-D6F3-486D-2D30-10BEF2647F10}"/>
          </ac:spMkLst>
        </pc:spChg>
        <pc:spChg chg="mod">
          <ac:chgData name="Rice, Daniel I" userId="S::drice@deloitte.com::98c2cb33-0d7c-489d-a193-7e1234fa5e89" providerId="AD" clId="Web-{2444F407-9FD6-4838-D03A-30F6A2D6FB31}" dt="2024-05-31T14:53:43.162" v="240" actId="20577"/>
          <ac:spMkLst>
            <pc:docMk/>
            <pc:sldMk cId="1553775843" sldId="3328"/>
            <ac:spMk id="3" creationId="{F4E3AFDC-1DC7-C655-BA98-BB0985C5EADC}"/>
          </ac:spMkLst>
        </pc:spChg>
      </pc:sldChg>
      <pc:sldChg chg="modSp new del">
        <pc:chgData name="Rice, Daniel I" userId="S::drice@deloitte.com::98c2cb33-0d7c-489d-a193-7e1234fa5e89" providerId="AD" clId="Web-{2444F407-9FD6-4838-D03A-30F6A2D6FB31}" dt="2024-05-31T15:52:05.131" v="644"/>
        <pc:sldMkLst>
          <pc:docMk/>
          <pc:sldMk cId="2949065054" sldId="3328"/>
        </pc:sldMkLst>
        <pc:spChg chg="mod">
          <ac:chgData name="Rice, Daniel I" userId="S::drice@deloitte.com::98c2cb33-0d7c-489d-a193-7e1234fa5e89" providerId="AD" clId="Web-{2444F407-9FD6-4838-D03A-30F6A2D6FB31}" dt="2024-05-31T15:46:07.012" v="642" actId="20577"/>
          <ac:spMkLst>
            <pc:docMk/>
            <pc:sldMk cId="2949065054" sldId="3328"/>
            <ac:spMk id="3" creationId="{886524A7-7FB9-5AFB-FB11-17DBA4B99328}"/>
          </ac:spMkLst>
        </pc:spChg>
      </pc:sldChg>
      <pc:sldChg chg="addSp delSp modSp add">
        <pc:chgData name="Rice, Daniel I" userId="S::drice@deloitte.com::98c2cb33-0d7c-489d-a193-7e1234fa5e89" providerId="AD" clId="Web-{2444F407-9FD6-4838-D03A-30F6A2D6FB31}" dt="2024-05-31T16:07:50.297" v="1668" actId="20577"/>
        <pc:sldMkLst>
          <pc:docMk/>
          <pc:sldMk cId="439701710" sldId="3329"/>
        </pc:sldMkLst>
        <pc:spChg chg="mod">
          <ac:chgData name="Rice, Daniel I" userId="S::drice@deloitte.com::98c2cb33-0d7c-489d-a193-7e1234fa5e89" providerId="AD" clId="Web-{2444F407-9FD6-4838-D03A-30F6A2D6FB31}" dt="2024-05-31T16:03:20.274" v="1378" actId="20577"/>
          <ac:spMkLst>
            <pc:docMk/>
            <pc:sldMk cId="439701710" sldId="3329"/>
            <ac:spMk id="2" creationId="{20BAB8EF-6C62-445B-8017-FE6D3898359A}"/>
          </ac:spMkLst>
        </pc:spChg>
        <pc:spChg chg="del">
          <ac:chgData name="Rice, Daniel I" userId="S::drice@deloitte.com::98c2cb33-0d7c-489d-a193-7e1234fa5e89" providerId="AD" clId="Web-{2444F407-9FD6-4838-D03A-30F6A2D6FB31}" dt="2024-05-31T15:52:12.350" v="645"/>
          <ac:spMkLst>
            <pc:docMk/>
            <pc:sldMk cId="439701710" sldId="3329"/>
            <ac:spMk id="3" creationId="{71316657-D014-40BD-9AD8-6F9745FC225C}"/>
          </ac:spMkLst>
        </pc:spChg>
        <pc:spChg chg="add del mod">
          <ac:chgData name="Rice, Daniel I" userId="S::drice@deloitte.com::98c2cb33-0d7c-489d-a193-7e1234fa5e89" providerId="AD" clId="Web-{2444F407-9FD6-4838-D03A-30F6A2D6FB31}" dt="2024-05-31T15:52:21.928" v="666"/>
          <ac:spMkLst>
            <pc:docMk/>
            <pc:sldMk cId="439701710" sldId="3329"/>
            <ac:spMk id="7" creationId="{2E0B5D52-E6E8-C8BF-7CC0-4E2A02432146}"/>
          </ac:spMkLst>
        </pc:spChg>
        <pc:spChg chg="add del mod">
          <ac:chgData name="Rice, Daniel I" userId="S::drice@deloitte.com::98c2cb33-0d7c-489d-a193-7e1234fa5e89" providerId="AD" clId="Web-{2444F407-9FD6-4838-D03A-30F6A2D6FB31}" dt="2024-05-31T16:04:52.058" v="1395"/>
          <ac:spMkLst>
            <pc:docMk/>
            <pc:sldMk cId="439701710" sldId="3329"/>
            <ac:spMk id="8" creationId="{58E15B18-47A2-958D-A868-A2BE367FE669}"/>
          </ac:spMkLst>
        </pc:spChg>
        <pc:spChg chg="add mod">
          <ac:chgData name="Rice, Daniel I" userId="S::drice@deloitte.com::98c2cb33-0d7c-489d-a193-7e1234fa5e89" providerId="AD" clId="Web-{2444F407-9FD6-4838-D03A-30F6A2D6FB31}" dt="2024-05-31T16:07:50.297" v="1668" actId="20577"/>
          <ac:spMkLst>
            <pc:docMk/>
            <pc:sldMk cId="439701710" sldId="3329"/>
            <ac:spMk id="9" creationId="{4A8568C0-F93B-C08B-E9D4-8E8179A1E6D7}"/>
          </ac:spMkLst>
        </pc:spChg>
        <pc:spChg chg="mod">
          <ac:chgData name="Rice, Daniel I" userId="S::drice@deloitte.com::98c2cb33-0d7c-489d-a193-7e1234fa5e89" providerId="AD" clId="Web-{2444F407-9FD6-4838-D03A-30F6A2D6FB31}" dt="2024-05-31T15:59:41.440" v="988" actId="20577"/>
          <ac:spMkLst>
            <pc:docMk/>
            <pc:sldMk cId="439701710" sldId="3329"/>
            <ac:spMk id="18" creationId="{D5075D41-56B7-4D71-AE73-F92D48FD22C0}"/>
          </ac:spMkLst>
        </pc:spChg>
        <pc:spChg chg="mod">
          <ac:chgData name="Rice, Daniel I" userId="S::drice@deloitte.com::98c2cb33-0d7c-489d-a193-7e1234fa5e89" providerId="AD" clId="Web-{2444F407-9FD6-4838-D03A-30F6A2D6FB31}" dt="2024-05-31T15:59:26.596" v="959" actId="20577"/>
          <ac:spMkLst>
            <pc:docMk/>
            <pc:sldMk cId="439701710" sldId="3329"/>
            <ac:spMk id="19" creationId="{753DD34C-446A-4992-8CDF-A7596BC5962A}"/>
          </ac:spMkLst>
        </pc:spChg>
        <pc:spChg chg="mod">
          <ac:chgData name="Rice, Daniel I" userId="S::drice@deloitte.com::98c2cb33-0d7c-489d-a193-7e1234fa5e89" providerId="AD" clId="Web-{2444F407-9FD6-4838-D03A-30F6A2D6FB31}" dt="2024-05-31T16:03:18.165" v="1376" actId="20577"/>
          <ac:spMkLst>
            <pc:docMk/>
            <pc:sldMk cId="439701710" sldId="3329"/>
            <ac:spMk id="20" creationId="{B253DDA9-54F0-4267-A4D3-15EFD22BA2ED}"/>
          </ac:spMkLst>
        </pc:spChg>
        <pc:spChg chg="mod">
          <ac:chgData name="Rice, Daniel I" userId="S::drice@deloitte.com::98c2cb33-0d7c-489d-a193-7e1234fa5e89" providerId="AD" clId="Web-{2444F407-9FD6-4838-D03A-30F6A2D6FB31}" dt="2024-05-31T16:04:09.322" v="1391" actId="20577"/>
          <ac:spMkLst>
            <pc:docMk/>
            <pc:sldMk cId="439701710" sldId="3329"/>
            <ac:spMk id="26" creationId="{1059DBDF-962B-48D0-8AAA-AC8FE4EFEC46}"/>
          </ac:spMkLst>
        </pc:spChg>
        <pc:spChg chg="mod">
          <ac:chgData name="Rice, Daniel I" userId="S::drice@deloitte.com::98c2cb33-0d7c-489d-a193-7e1234fa5e89" providerId="AD" clId="Web-{2444F407-9FD6-4838-D03A-30F6A2D6FB31}" dt="2024-05-31T16:02:56.805" v="1355" actId="20577"/>
          <ac:spMkLst>
            <pc:docMk/>
            <pc:sldMk cId="439701710" sldId="3329"/>
            <ac:spMk id="27" creationId="{347D4AE4-AA18-4D80-A78F-C39C3A4F607B}"/>
          </ac:spMkLst>
        </pc:spChg>
        <pc:spChg chg="mod">
          <ac:chgData name="Rice, Daniel I" userId="S::drice@deloitte.com::98c2cb33-0d7c-489d-a193-7e1234fa5e89" providerId="AD" clId="Web-{2444F407-9FD6-4838-D03A-30F6A2D6FB31}" dt="2024-05-31T16:03:27.274" v="1380" actId="20577"/>
          <ac:spMkLst>
            <pc:docMk/>
            <pc:sldMk cId="439701710" sldId="3329"/>
            <ac:spMk id="28" creationId="{73E9173A-25C7-441F-8240-4F556D4EF40B}"/>
          </ac:spMkLst>
        </pc:spChg>
        <pc:grpChg chg="mod">
          <ac:chgData name="Rice, Daniel I" userId="S::drice@deloitte.com::98c2cb33-0d7c-489d-a193-7e1234fa5e89" providerId="AD" clId="Web-{2444F407-9FD6-4838-D03A-30F6A2D6FB31}" dt="2024-05-31T16:07:40.718" v="1661" actId="1076"/>
          <ac:grpSpMkLst>
            <pc:docMk/>
            <pc:sldMk cId="439701710" sldId="3329"/>
            <ac:grpSpMk id="10" creationId="{920D761D-2F11-EB4C-9189-C8A5CB5B188C}"/>
          </ac:grpSpMkLst>
        </pc:grpChg>
      </pc:sldChg>
      <pc:sldChg chg="modSp">
        <pc:chgData name="Rice, Daniel I" userId="S::drice@deloitte.com::98c2cb33-0d7c-489d-a193-7e1234fa5e89" providerId="AD" clId="Web-{2444F407-9FD6-4838-D03A-30F6A2D6FB31}" dt="2024-05-31T17:36:02.790" v="1677" actId="1076"/>
        <pc:sldMkLst>
          <pc:docMk/>
          <pc:sldMk cId="1613324825" sldId="3331"/>
        </pc:sldMkLst>
        <pc:picChg chg="mod">
          <ac:chgData name="Rice, Daniel I" userId="S::drice@deloitte.com::98c2cb33-0d7c-489d-a193-7e1234fa5e89" providerId="AD" clId="Web-{2444F407-9FD6-4838-D03A-30F6A2D6FB31}" dt="2024-05-31T17:36:02.790" v="1677" actId="1076"/>
          <ac:picMkLst>
            <pc:docMk/>
            <pc:sldMk cId="1613324825" sldId="3331"/>
            <ac:picMk id="3" creationId="{1F29BB92-B64F-DBF0-E935-8704DD36F0D3}"/>
          </ac:picMkLst>
        </pc:picChg>
      </pc:sldChg>
      <pc:sldMasterChg chg="addSldLayout">
        <pc:chgData name="Rice, Daniel I" userId="S::drice@deloitte.com::98c2cb33-0d7c-489d-a193-7e1234fa5e89" providerId="AD" clId="Web-{2444F407-9FD6-4838-D03A-30F6A2D6FB31}" dt="2024-05-31T14:56:53.073" v="241"/>
        <pc:sldMasterMkLst>
          <pc:docMk/>
          <pc:sldMasterMk cId="1968898803" sldId="2147483648"/>
        </pc:sldMasterMkLst>
        <pc:sldLayoutChg chg="add">
          <pc:chgData name="Rice, Daniel I" userId="S::drice@deloitte.com::98c2cb33-0d7c-489d-a193-7e1234fa5e89" providerId="AD" clId="Web-{2444F407-9FD6-4838-D03A-30F6A2D6FB31}" dt="2024-05-31T14:56:53.073" v="241"/>
          <pc:sldLayoutMkLst>
            <pc:docMk/>
            <pc:sldMasterMk cId="1968898803" sldId="2147483648"/>
            <pc:sldLayoutMk cId="1663738257" sldId="2147483666"/>
          </pc:sldLayoutMkLst>
        </pc:sldLayoutChg>
      </pc:sldMasterChg>
    </pc:docChg>
  </pc:docChgLst>
  <pc:docChgLst>
    <pc:chgData name="Averill, Charles Alan" userId="S::caverill@deloitte.com::45bd19d9-dee6-442d-abd0-319f6b164f50" providerId="AD" clId="Web-{E33C9219-1EE7-8736-43AA-5176922D489A}"/>
    <pc:docChg chg="addSld delSld modSld sldOrd">
      <pc:chgData name="Averill, Charles Alan" userId="S::caverill@deloitte.com::45bd19d9-dee6-442d-abd0-319f6b164f50" providerId="AD" clId="Web-{E33C9219-1EE7-8736-43AA-5176922D489A}" dt="2024-05-31T16:15:52.458" v="319" actId="14100"/>
      <pc:docMkLst>
        <pc:docMk/>
      </pc:docMkLst>
      <pc:sldChg chg="del">
        <pc:chgData name="Averill, Charles Alan" userId="S::caverill@deloitte.com::45bd19d9-dee6-442d-abd0-319f6b164f50" providerId="AD" clId="Web-{E33C9219-1EE7-8736-43AA-5176922D489A}" dt="2024-05-31T15:22:22.674" v="104"/>
        <pc:sldMkLst>
          <pc:docMk/>
          <pc:sldMk cId="2614706390" sldId="256"/>
        </pc:sldMkLst>
      </pc:sldChg>
      <pc:sldChg chg="modSp">
        <pc:chgData name="Averill, Charles Alan" userId="S::caverill@deloitte.com::45bd19d9-dee6-442d-abd0-319f6b164f50" providerId="AD" clId="Web-{E33C9219-1EE7-8736-43AA-5176922D489A}" dt="2024-05-31T14:48:44.911" v="103" actId="20577"/>
        <pc:sldMkLst>
          <pc:docMk/>
          <pc:sldMk cId="3633960545" sldId="340"/>
        </pc:sldMkLst>
        <pc:spChg chg="mod">
          <ac:chgData name="Averill, Charles Alan" userId="S::caverill@deloitte.com::45bd19d9-dee6-442d-abd0-319f6b164f50" providerId="AD" clId="Web-{E33C9219-1EE7-8736-43AA-5176922D489A}" dt="2024-05-31T14:48:44.911" v="103" actId="20577"/>
          <ac:spMkLst>
            <pc:docMk/>
            <pc:sldMk cId="3633960545" sldId="340"/>
            <ac:spMk id="25" creationId="{3ED0DD05-1665-3A9C-786F-25A0F69EF67E}"/>
          </ac:spMkLst>
        </pc:spChg>
        <pc:spChg chg="mod">
          <ac:chgData name="Averill, Charles Alan" userId="S::caverill@deloitte.com::45bd19d9-dee6-442d-abd0-319f6b164f50" providerId="AD" clId="Web-{E33C9219-1EE7-8736-43AA-5176922D489A}" dt="2024-05-31T14:12:49.306" v="95" actId="20577"/>
          <ac:spMkLst>
            <pc:docMk/>
            <pc:sldMk cId="3633960545" sldId="340"/>
            <ac:spMk id="26" creationId="{F5C4CF1B-2063-65D4-BA87-5C3687C59142}"/>
          </ac:spMkLst>
        </pc:spChg>
        <pc:spChg chg="mod">
          <ac:chgData name="Averill, Charles Alan" userId="S::caverill@deloitte.com::45bd19d9-dee6-442d-abd0-319f6b164f50" providerId="AD" clId="Web-{E33C9219-1EE7-8736-43AA-5176922D489A}" dt="2024-05-31T14:48:36.723" v="102" actId="20577"/>
          <ac:spMkLst>
            <pc:docMk/>
            <pc:sldMk cId="3633960545" sldId="340"/>
            <ac:spMk id="27" creationId="{759025CB-4A74-F399-E6B8-468FEC6A0C40}"/>
          </ac:spMkLst>
        </pc:spChg>
      </pc:sldChg>
      <pc:sldChg chg="modSp">
        <pc:chgData name="Averill, Charles Alan" userId="S::caverill@deloitte.com::45bd19d9-dee6-442d-abd0-319f6b164f50" providerId="AD" clId="Web-{E33C9219-1EE7-8736-43AA-5176922D489A}" dt="2024-05-31T14:10:21.182" v="47" actId="20577"/>
        <pc:sldMkLst>
          <pc:docMk/>
          <pc:sldMk cId="2867121157" sldId="3280"/>
        </pc:sldMkLst>
        <pc:spChg chg="mod">
          <ac:chgData name="Averill, Charles Alan" userId="S::caverill@deloitte.com::45bd19d9-dee6-442d-abd0-319f6b164f50" providerId="AD" clId="Web-{E33C9219-1EE7-8736-43AA-5176922D489A}" dt="2024-05-31T14:10:21.182" v="47" actId="20577"/>
          <ac:spMkLst>
            <pc:docMk/>
            <pc:sldMk cId="2867121157" sldId="3280"/>
            <ac:spMk id="6" creationId="{4A3A706C-62AF-9745-A009-06F94566D6D7}"/>
          </ac:spMkLst>
        </pc:spChg>
        <pc:spChg chg="mod">
          <ac:chgData name="Averill, Charles Alan" userId="S::caverill@deloitte.com::45bd19d9-dee6-442d-abd0-319f6b164f50" providerId="AD" clId="Web-{E33C9219-1EE7-8736-43AA-5176922D489A}" dt="2024-05-31T14:10:21.151" v="44" actId="20577"/>
          <ac:spMkLst>
            <pc:docMk/>
            <pc:sldMk cId="2867121157" sldId="3280"/>
            <ac:spMk id="10" creationId="{E18AE20D-0E0D-9847-85A3-D79F1795988E}"/>
          </ac:spMkLst>
        </pc:spChg>
        <pc:spChg chg="mod">
          <ac:chgData name="Averill, Charles Alan" userId="S::caverill@deloitte.com::45bd19d9-dee6-442d-abd0-319f6b164f50" providerId="AD" clId="Web-{E33C9219-1EE7-8736-43AA-5176922D489A}" dt="2024-05-31T14:10:21.167" v="45" actId="20577"/>
          <ac:spMkLst>
            <pc:docMk/>
            <pc:sldMk cId="2867121157" sldId="3280"/>
            <ac:spMk id="14" creationId="{BC52A068-73E2-134D-B964-530674C3CBF4}"/>
          </ac:spMkLst>
        </pc:spChg>
        <pc:spChg chg="mod">
          <ac:chgData name="Averill, Charles Alan" userId="S::caverill@deloitte.com::45bd19d9-dee6-442d-abd0-319f6b164f50" providerId="AD" clId="Web-{E33C9219-1EE7-8736-43AA-5176922D489A}" dt="2024-05-31T14:10:21.167" v="46" actId="20577"/>
          <ac:spMkLst>
            <pc:docMk/>
            <pc:sldMk cId="2867121157" sldId="3280"/>
            <ac:spMk id="18" creationId="{2FE268EB-4EEB-F845-BB46-49DC77FBBD86}"/>
          </ac:spMkLst>
        </pc:spChg>
      </pc:sldChg>
      <pc:sldChg chg="modSp">
        <pc:chgData name="Averill, Charles Alan" userId="S::caverill@deloitte.com::45bd19d9-dee6-442d-abd0-319f6b164f50" providerId="AD" clId="Web-{E33C9219-1EE7-8736-43AA-5176922D489A}" dt="2024-05-31T15:44:47.567" v="109" actId="20577"/>
        <pc:sldMkLst>
          <pc:docMk/>
          <pc:sldMk cId="2949065054" sldId="3328"/>
        </pc:sldMkLst>
        <pc:spChg chg="mod">
          <ac:chgData name="Averill, Charles Alan" userId="S::caverill@deloitte.com::45bd19d9-dee6-442d-abd0-319f6b164f50" providerId="AD" clId="Web-{E33C9219-1EE7-8736-43AA-5176922D489A}" dt="2024-05-31T15:44:47.567" v="109" actId="20577"/>
          <ac:spMkLst>
            <pc:docMk/>
            <pc:sldMk cId="2949065054" sldId="3328"/>
            <ac:spMk id="3" creationId="{886524A7-7FB9-5AFB-FB11-17DBA4B99328}"/>
          </ac:spMkLst>
        </pc:spChg>
      </pc:sldChg>
      <pc:sldChg chg="addSp delSp modSp">
        <pc:chgData name="Averill, Charles Alan" userId="S::caverill@deloitte.com::45bd19d9-dee6-442d-abd0-319f6b164f50" providerId="AD" clId="Web-{E33C9219-1EE7-8736-43AA-5176922D489A}" dt="2024-05-31T16:10:29.698" v="115"/>
        <pc:sldMkLst>
          <pc:docMk/>
          <pc:sldMk cId="1613324825" sldId="3331"/>
        </pc:sldMkLst>
        <pc:picChg chg="add del mod">
          <ac:chgData name="Averill, Charles Alan" userId="S::caverill@deloitte.com::45bd19d9-dee6-442d-abd0-319f6b164f50" providerId="AD" clId="Web-{E33C9219-1EE7-8736-43AA-5176922D489A}" dt="2024-05-31T16:10:29.698" v="115"/>
          <ac:picMkLst>
            <pc:docMk/>
            <pc:sldMk cId="1613324825" sldId="3331"/>
            <ac:picMk id="4" creationId="{14DDC064-E886-79C0-6C5C-379EACBA6E47}"/>
          </ac:picMkLst>
        </pc:picChg>
      </pc:sldChg>
      <pc:sldChg chg="addSp delSp modSp new ord">
        <pc:chgData name="Averill, Charles Alan" userId="S::caverill@deloitte.com::45bd19d9-dee6-442d-abd0-319f6b164f50" providerId="AD" clId="Web-{E33C9219-1EE7-8736-43AA-5176922D489A}" dt="2024-05-31T16:15:52.458" v="319" actId="14100"/>
        <pc:sldMkLst>
          <pc:docMk/>
          <pc:sldMk cId="1760481120" sldId="3332"/>
        </pc:sldMkLst>
        <pc:spChg chg="mod">
          <ac:chgData name="Averill, Charles Alan" userId="S::caverill@deloitte.com::45bd19d9-dee6-442d-abd0-319f6b164f50" providerId="AD" clId="Web-{E33C9219-1EE7-8736-43AA-5176922D489A}" dt="2024-05-31T16:11:41.700" v="150" actId="20577"/>
          <ac:spMkLst>
            <pc:docMk/>
            <pc:sldMk cId="1760481120" sldId="3332"/>
            <ac:spMk id="2" creationId="{A80E855C-0644-3F98-FFDF-AB1AF4DE1D5C}"/>
          </ac:spMkLst>
        </pc:spChg>
        <pc:spChg chg="mod">
          <ac:chgData name="Averill, Charles Alan" userId="S::caverill@deloitte.com::45bd19d9-dee6-442d-abd0-319f6b164f50" providerId="AD" clId="Web-{E33C9219-1EE7-8736-43AA-5176922D489A}" dt="2024-05-31T16:12:03.935" v="204" actId="20577"/>
          <ac:spMkLst>
            <pc:docMk/>
            <pc:sldMk cId="1760481120" sldId="3332"/>
            <ac:spMk id="3" creationId="{7240452E-6FC5-19D1-CE2A-2FA9C065647D}"/>
          </ac:spMkLst>
        </pc:spChg>
        <pc:spChg chg="del">
          <ac:chgData name="Averill, Charles Alan" userId="S::caverill@deloitte.com::45bd19d9-dee6-442d-abd0-319f6b164f50" providerId="AD" clId="Web-{E33C9219-1EE7-8736-43AA-5176922D489A}" dt="2024-05-31T16:11:47.216" v="153"/>
          <ac:spMkLst>
            <pc:docMk/>
            <pc:sldMk cId="1760481120" sldId="3332"/>
            <ac:spMk id="4" creationId="{8A2D0879-E486-5AF1-48CF-F78DC2A003AD}"/>
          </ac:spMkLst>
        </pc:spChg>
        <pc:spChg chg="add mod">
          <ac:chgData name="Averill, Charles Alan" userId="S::caverill@deloitte.com::45bd19d9-dee6-442d-abd0-319f6b164f50" providerId="AD" clId="Web-{E33C9219-1EE7-8736-43AA-5176922D489A}" dt="2024-05-31T16:15:52.458" v="319" actId="14100"/>
          <ac:spMkLst>
            <pc:docMk/>
            <pc:sldMk cId="1760481120" sldId="3332"/>
            <ac:spMk id="7" creationId="{7BA2C5B1-581E-9306-B493-E1748F245E09}"/>
          </ac:spMkLst>
        </pc:spChg>
        <pc:picChg chg="add mod">
          <ac:chgData name="Averill, Charles Alan" userId="S::caverill@deloitte.com::45bd19d9-dee6-442d-abd0-319f6b164f50" providerId="AD" clId="Web-{E33C9219-1EE7-8736-43AA-5176922D489A}" dt="2024-05-31T16:12:16.248" v="213" actId="1076"/>
          <ac:picMkLst>
            <pc:docMk/>
            <pc:sldMk cId="1760481120" sldId="3332"/>
            <ac:picMk id="5" creationId="{8418F2EE-2062-3434-8A58-7C56FD41BE47}"/>
          </ac:picMkLst>
        </pc:picChg>
        <pc:picChg chg="add mod">
          <ac:chgData name="Averill, Charles Alan" userId="S::caverill@deloitte.com::45bd19d9-dee6-442d-abd0-319f6b164f50" providerId="AD" clId="Web-{E33C9219-1EE7-8736-43AA-5176922D489A}" dt="2024-05-31T16:12:14.779" v="212" actId="1076"/>
          <ac:picMkLst>
            <pc:docMk/>
            <pc:sldMk cId="1760481120" sldId="3332"/>
            <ac:picMk id="6" creationId="{645269C3-3917-DA3A-2D68-BDD0A9AE2031}"/>
          </ac:picMkLst>
        </pc:picChg>
      </pc:sldChg>
    </pc:docChg>
  </pc:docChgLst>
  <pc:docChgLst>
    <pc:chgData name="Alvarado Menendez, Leonardo" userId="S::lalvaradomenendez@deloitte.com::905d9c53-4bde-43eb-84a8-1d1744a10674" providerId="AD" clId="Web-{F5C77D61-88D8-4354-8AED-CF2DEE7F2EEA}"/>
    <pc:docChg chg="modSld">
      <pc:chgData name="Alvarado Menendez, Leonardo" userId="S::lalvaradomenendez@deloitte.com::905d9c53-4bde-43eb-84a8-1d1744a10674" providerId="AD" clId="Web-{F5C77D61-88D8-4354-8AED-CF2DEE7F2EEA}" dt="2024-05-31T19:02:15.400" v="78" actId="14100"/>
      <pc:docMkLst>
        <pc:docMk/>
      </pc:docMkLst>
      <pc:sldChg chg="modSp">
        <pc:chgData name="Alvarado Menendez, Leonardo" userId="S::lalvaradomenendez@deloitte.com::905d9c53-4bde-43eb-84a8-1d1744a10674" providerId="AD" clId="Web-{F5C77D61-88D8-4354-8AED-CF2DEE7F2EEA}" dt="2024-05-31T19:02:15.400" v="78" actId="14100"/>
        <pc:sldMkLst>
          <pc:docMk/>
          <pc:sldMk cId="1224480256" sldId="334"/>
        </pc:sldMkLst>
        <pc:spChg chg="mod">
          <ac:chgData name="Alvarado Menendez, Leonardo" userId="S::lalvaradomenendez@deloitte.com::905d9c53-4bde-43eb-84a8-1d1744a10674" providerId="AD" clId="Web-{F5C77D61-88D8-4354-8AED-CF2DEE7F2EEA}" dt="2024-05-31T19:01:37.226" v="54" actId="20577"/>
          <ac:spMkLst>
            <pc:docMk/>
            <pc:sldMk cId="1224480256" sldId="334"/>
            <ac:spMk id="6" creationId="{F3CC1E21-C752-48A9-89F0-A8993097EE13}"/>
          </ac:spMkLst>
        </pc:spChg>
        <pc:spChg chg="mod">
          <ac:chgData name="Alvarado Menendez, Leonardo" userId="S::lalvaradomenendez@deloitte.com::905d9c53-4bde-43eb-84a8-1d1744a10674" providerId="AD" clId="Web-{F5C77D61-88D8-4354-8AED-CF2DEE7F2EEA}" dt="2024-05-31T19:01:40.695" v="58" actId="20577"/>
          <ac:spMkLst>
            <pc:docMk/>
            <pc:sldMk cId="1224480256" sldId="334"/>
            <ac:spMk id="10" creationId="{BFB83E42-5D4E-4566-B887-1553F705FE73}"/>
          </ac:spMkLst>
        </pc:spChg>
        <pc:spChg chg="mod">
          <ac:chgData name="Alvarado Menendez, Leonardo" userId="S::lalvaradomenendez@deloitte.com::905d9c53-4bde-43eb-84a8-1d1744a10674" providerId="AD" clId="Web-{F5C77D61-88D8-4354-8AED-CF2DEE7F2EEA}" dt="2024-05-31T19:02:13.353" v="77" actId="14100"/>
          <ac:spMkLst>
            <pc:docMk/>
            <pc:sldMk cId="1224480256" sldId="334"/>
            <ac:spMk id="14" creationId="{935FF258-720F-4D65-A652-9DD7D733F544}"/>
          </ac:spMkLst>
        </pc:spChg>
        <pc:spChg chg="mod">
          <ac:chgData name="Alvarado Menendez, Leonardo" userId="S::lalvaradomenendez@deloitte.com::905d9c53-4bde-43eb-84a8-1d1744a10674" providerId="AD" clId="Web-{F5C77D61-88D8-4354-8AED-CF2DEE7F2EEA}" dt="2024-05-31T19:01:43.164" v="60" actId="20577"/>
          <ac:spMkLst>
            <pc:docMk/>
            <pc:sldMk cId="1224480256" sldId="334"/>
            <ac:spMk id="23" creationId="{4DC7B1B1-D2BC-4F1D-A798-9C6C9654C1D6}"/>
          </ac:spMkLst>
        </pc:spChg>
        <pc:spChg chg="mod">
          <ac:chgData name="Alvarado Menendez, Leonardo" userId="S::lalvaradomenendez@deloitte.com::905d9c53-4bde-43eb-84a8-1d1744a10674" providerId="AD" clId="Web-{F5C77D61-88D8-4354-8AED-CF2DEE7F2EEA}" dt="2024-05-31T19:02:15.400" v="78" actId="14100"/>
          <ac:spMkLst>
            <pc:docMk/>
            <pc:sldMk cId="1224480256" sldId="334"/>
            <ac:spMk id="29" creationId="{50A8E7A7-9F8A-4245-A1D8-821AB0DD9666}"/>
          </ac:spMkLst>
        </pc:spChg>
        <pc:grpChg chg="mod">
          <ac:chgData name="Alvarado Menendez, Leonardo" userId="S::lalvaradomenendez@deloitte.com::905d9c53-4bde-43eb-84a8-1d1744a10674" providerId="AD" clId="Web-{F5C77D61-88D8-4354-8AED-CF2DEE7F2EEA}" dt="2024-05-31T19:01:29.054" v="50" actId="1076"/>
          <ac:grpSpMkLst>
            <pc:docMk/>
            <pc:sldMk cId="1224480256" sldId="334"/>
            <ac:grpSpMk id="33" creationId="{EEB2ACD8-2E94-A14D-BB8D-D076B9FA7C9D}"/>
          </ac:grpSpMkLst>
        </pc:grpChg>
        <pc:grpChg chg="mod">
          <ac:chgData name="Alvarado Menendez, Leonardo" userId="S::lalvaradomenendez@deloitte.com::905d9c53-4bde-43eb-84a8-1d1744a10674" providerId="AD" clId="Web-{F5C77D61-88D8-4354-8AED-CF2DEE7F2EEA}" dt="2024-05-31T19:01:25.132" v="49" actId="1076"/>
          <ac:grpSpMkLst>
            <pc:docMk/>
            <pc:sldMk cId="1224480256" sldId="334"/>
            <ac:grpSpMk id="36" creationId="{C6CCDA0F-EEB5-8046-8E96-0EA839089C39}"/>
          </ac:grpSpMkLst>
        </pc:grpChg>
        <pc:grpChg chg="mod">
          <ac:chgData name="Alvarado Menendez, Leonardo" userId="S::lalvaradomenendez@deloitte.com::905d9c53-4bde-43eb-84a8-1d1744a10674" providerId="AD" clId="Web-{F5C77D61-88D8-4354-8AED-CF2DEE7F2EEA}" dt="2024-05-31T19:01:04.085" v="46" actId="1076"/>
          <ac:grpSpMkLst>
            <pc:docMk/>
            <pc:sldMk cId="1224480256" sldId="334"/>
            <ac:grpSpMk id="39" creationId="{BAC8D941-AE70-D34D-9496-2B7F30C95CA7}"/>
          </ac:grpSpMkLst>
        </pc:grpChg>
        <pc:grpChg chg="mod">
          <ac:chgData name="Alvarado Menendez, Leonardo" userId="S::lalvaradomenendez@deloitte.com::905d9c53-4bde-43eb-84a8-1d1744a10674" providerId="AD" clId="Web-{F5C77D61-88D8-4354-8AED-CF2DEE7F2EEA}" dt="2024-05-31T19:01:18.710" v="48" actId="1076"/>
          <ac:grpSpMkLst>
            <pc:docMk/>
            <pc:sldMk cId="1224480256" sldId="334"/>
            <ac:grpSpMk id="44" creationId="{1ADA81A2-D7EA-134F-86A1-A879A8BA4214}"/>
          </ac:grpSpMkLst>
        </pc:grpChg>
        <pc:grpChg chg="mod">
          <ac:chgData name="Alvarado Menendez, Leonardo" userId="S::lalvaradomenendez@deloitte.com::905d9c53-4bde-43eb-84a8-1d1744a10674" providerId="AD" clId="Web-{F5C77D61-88D8-4354-8AED-CF2DEE7F2EEA}" dt="2024-05-31T19:01:13.147" v="47" actId="1076"/>
          <ac:grpSpMkLst>
            <pc:docMk/>
            <pc:sldMk cId="1224480256" sldId="334"/>
            <ac:grpSpMk id="58" creationId="{D1307AC7-7221-3741-8E42-EDFAE481EF72}"/>
          </ac:grpSpMkLst>
        </pc:grpChg>
      </pc:sldChg>
      <pc:sldChg chg="delCm">
        <pc:chgData name="Alvarado Menendez, Leonardo" userId="S::lalvaradomenendez@deloitte.com::905d9c53-4bde-43eb-84a8-1d1744a10674" providerId="AD" clId="Web-{F5C77D61-88D8-4354-8AED-CF2DEE7F2EEA}" dt="2024-05-31T18:56:45.309" v="0"/>
        <pc:sldMkLst>
          <pc:docMk/>
          <pc:sldMk cId="3743183705" sldId="33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Alvarado Menendez, Leonardo" userId="S::lalvaradomenendez@deloitte.com::905d9c53-4bde-43eb-84a8-1d1744a10674" providerId="AD" clId="Web-{F5C77D61-88D8-4354-8AED-CF2DEE7F2EEA}" dt="2024-05-31T18:56:45.309" v="0"/>
              <pc2:cmMkLst xmlns:pc2="http://schemas.microsoft.com/office/powerpoint/2019/9/main/command">
                <pc:docMk/>
                <pc:sldMk cId="3743183705" sldId="337"/>
                <pc2:cmMk id="{D304D2A2-3FCF-4CCE-B3B0-449DF571B429}"/>
              </pc2:cmMkLst>
            </pc226:cmChg>
          </p:ext>
        </pc:extLst>
      </pc:sldChg>
    </pc:docChg>
  </pc:docChgLst>
  <pc:docChgLst>
    <pc:chgData name="Zhu, Aaron" userId="S::aazhu@deloitte.com::79eccb59-c0f8-4541-a452-428dafa76dae" providerId="AD" clId="Web-{2E6E0AFD-E0A6-C241-4A4A-583D55C043B1}"/>
    <pc:docChg chg="modSld">
      <pc:chgData name="Zhu, Aaron" userId="S::aazhu@deloitte.com::79eccb59-c0f8-4541-a452-428dafa76dae" providerId="AD" clId="Web-{2E6E0AFD-E0A6-C241-4A4A-583D55C043B1}" dt="2024-06-14T16:35:48.634" v="84" actId="20577"/>
      <pc:docMkLst>
        <pc:docMk/>
      </pc:docMkLst>
      <pc:sldChg chg="modSp">
        <pc:chgData name="Zhu, Aaron" userId="S::aazhu@deloitte.com::79eccb59-c0f8-4541-a452-428dafa76dae" providerId="AD" clId="Web-{2E6E0AFD-E0A6-C241-4A4A-583D55C043B1}" dt="2024-06-14T15:00:27.153" v="54" actId="20577"/>
        <pc:sldMkLst>
          <pc:docMk/>
          <pc:sldMk cId="1402299992" sldId="372"/>
        </pc:sldMkLst>
        <pc:spChg chg="mod">
          <ac:chgData name="Zhu, Aaron" userId="S::aazhu@deloitte.com::79eccb59-c0f8-4541-a452-428dafa76dae" providerId="AD" clId="Web-{2E6E0AFD-E0A6-C241-4A4A-583D55C043B1}" dt="2024-06-14T15:00:27.153" v="54" actId="20577"/>
          <ac:spMkLst>
            <pc:docMk/>
            <pc:sldMk cId="1402299992" sldId="372"/>
            <ac:spMk id="3" creationId="{E4AC4D8B-3C3E-48CA-939A-0E45C10ED43B}"/>
          </ac:spMkLst>
        </pc:spChg>
        <pc:spChg chg="mod">
          <ac:chgData name="Zhu, Aaron" userId="S::aazhu@deloitte.com::79eccb59-c0f8-4541-a452-428dafa76dae" providerId="AD" clId="Web-{2E6E0AFD-E0A6-C241-4A4A-583D55C043B1}" dt="2024-06-14T14:52:03.978" v="31" actId="20577"/>
          <ac:spMkLst>
            <pc:docMk/>
            <pc:sldMk cId="1402299992" sldId="372"/>
            <ac:spMk id="20" creationId="{D95B1F3D-19C6-494F-AEBB-8274FF1FFE5C}"/>
          </ac:spMkLst>
        </pc:spChg>
      </pc:sldChg>
      <pc:sldChg chg="addSp delSp modSp modCm">
        <pc:chgData name="Zhu, Aaron" userId="S::aazhu@deloitte.com::79eccb59-c0f8-4541-a452-428dafa76dae" providerId="AD" clId="Web-{2E6E0AFD-E0A6-C241-4A4A-583D55C043B1}" dt="2024-06-14T16:35:48.634" v="84" actId="20577"/>
        <pc:sldMkLst>
          <pc:docMk/>
          <pc:sldMk cId="1760481120" sldId="3332"/>
        </pc:sldMkLst>
        <pc:spChg chg="mod">
          <ac:chgData name="Zhu, Aaron" userId="S::aazhu@deloitte.com::79eccb59-c0f8-4541-a452-428dafa76dae" providerId="AD" clId="Web-{2E6E0AFD-E0A6-C241-4A4A-583D55C043B1}" dt="2024-06-14T16:35:48.634" v="84" actId="20577"/>
          <ac:spMkLst>
            <pc:docMk/>
            <pc:sldMk cId="1760481120" sldId="3332"/>
            <ac:spMk id="7" creationId="{7BA2C5B1-581E-9306-B493-E1748F245E09}"/>
          </ac:spMkLst>
        </pc:spChg>
        <pc:picChg chg="del">
          <ac:chgData name="Zhu, Aaron" userId="S::aazhu@deloitte.com::79eccb59-c0f8-4541-a452-428dafa76dae" providerId="AD" clId="Web-{2E6E0AFD-E0A6-C241-4A4A-583D55C043B1}" dt="2024-06-14T15:19:26.465" v="57"/>
          <ac:picMkLst>
            <pc:docMk/>
            <pc:sldMk cId="1760481120" sldId="3332"/>
            <ac:picMk id="4" creationId="{13F87B8B-D956-B1FE-869F-D65A202E33CE}"/>
          </ac:picMkLst>
        </pc:picChg>
        <pc:picChg chg="add mod">
          <ac:chgData name="Zhu, Aaron" userId="S::aazhu@deloitte.com::79eccb59-c0f8-4541-a452-428dafa76dae" providerId="AD" clId="Web-{2E6E0AFD-E0A6-C241-4A4A-583D55C043B1}" dt="2024-06-14T15:46:16.392" v="68" actId="1076"/>
          <ac:picMkLst>
            <pc:docMk/>
            <pc:sldMk cId="1760481120" sldId="3332"/>
            <ac:picMk id="4" creationId="{BFE1F899-D687-5FAD-48F5-70E144392613}"/>
          </ac:picMkLst>
        </pc:picChg>
        <pc:picChg chg="add del mod">
          <ac:chgData name="Zhu, Aaron" userId="S::aazhu@deloitte.com::79eccb59-c0f8-4541-a452-428dafa76dae" providerId="AD" clId="Web-{2E6E0AFD-E0A6-C241-4A4A-583D55C043B1}" dt="2024-06-14T15:46:03.017" v="64"/>
          <ac:picMkLst>
            <pc:docMk/>
            <pc:sldMk cId="1760481120" sldId="3332"/>
            <ac:picMk id="5" creationId="{6577D167-BDCB-3996-D952-A62593B074BB}"/>
          </ac:picMkLst>
        </pc:picChg>
        <pc:picChg chg="del">
          <ac:chgData name="Zhu, Aaron" userId="S::aazhu@deloitte.com::79eccb59-c0f8-4541-a452-428dafa76dae" providerId="AD" clId="Web-{2E6E0AFD-E0A6-C241-4A4A-583D55C043B1}" dt="2024-06-14T14:25:47.601" v="3"/>
          <ac:picMkLst>
            <pc:docMk/>
            <pc:sldMk cId="1760481120" sldId="3332"/>
            <ac:picMk id="8" creationId="{9EDB3675-38C3-81B2-4790-0F06C2DD5A6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Zhu, Aaron" userId="S::aazhu@deloitte.com::79eccb59-c0f8-4541-a452-428dafa76dae" providerId="AD" clId="Web-{2E6E0AFD-E0A6-C241-4A4A-583D55C043B1}" dt="2024-06-14T16:35:47.868" v="83" actId="20577"/>
              <pc2:cmMkLst xmlns:pc2="http://schemas.microsoft.com/office/powerpoint/2019/9/main/command">
                <pc:docMk/>
                <pc:sldMk cId="1760481120" sldId="3332"/>
                <pc2:cmMk id="{A061584E-45F5-48B9-906D-9B02BEBBF5EC}"/>
              </pc2:cmMkLst>
            </pc226:cmChg>
          </p:ext>
        </pc:extLst>
      </pc:sldChg>
    </pc:docChg>
  </pc:docChgLst>
  <pc:docChgLst>
    <pc:chgData name="Alvarado Menendez, Leonardo" userId="S::lalvaradomenendez@deloitte.com::905d9c53-4bde-43eb-84a8-1d1744a10674" providerId="AD" clId="Web-{91F6BEAB-5627-4194-AC67-7E4D76659F1A}"/>
    <pc:docChg chg="modSld">
      <pc:chgData name="Alvarado Menendez, Leonardo" userId="S::lalvaradomenendez@deloitte.com::905d9c53-4bde-43eb-84a8-1d1744a10674" providerId="AD" clId="Web-{91F6BEAB-5627-4194-AC67-7E4D76659F1A}" dt="2024-06-14T16:00:23.364" v="5"/>
      <pc:docMkLst>
        <pc:docMk/>
      </pc:docMkLst>
      <pc:sldChg chg="addSp delSp modSp">
        <pc:chgData name="Alvarado Menendez, Leonardo" userId="S::lalvaradomenendez@deloitte.com::905d9c53-4bde-43eb-84a8-1d1744a10674" providerId="AD" clId="Web-{91F6BEAB-5627-4194-AC67-7E4D76659F1A}" dt="2024-06-14T16:00:23.364" v="5"/>
        <pc:sldMkLst>
          <pc:docMk/>
          <pc:sldMk cId="1760481120" sldId="3332"/>
        </pc:sldMkLst>
        <pc:picChg chg="add del mod">
          <ac:chgData name="Alvarado Menendez, Leonardo" userId="S::lalvaradomenendez@deloitte.com::905d9c53-4bde-43eb-84a8-1d1744a10674" providerId="AD" clId="Web-{91F6BEAB-5627-4194-AC67-7E4D76659F1A}" dt="2024-06-14T16:00:22.630" v="4"/>
          <ac:picMkLst>
            <pc:docMk/>
            <pc:sldMk cId="1760481120" sldId="3332"/>
            <ac:picMk id="4" creationId="{61CF8E2B-F330-5474-F514-C68ABA340BC8}"/>
          </ac:picMkLst>
        </pc:picChg>
        <pc:picChg chg="add del">
          <ac:chgData name="Alvarado Menendez, Leonardo" userId="S::lalvaradomenendez@deloitte.com::905d9c53-4bde-43eb-84a8-1d1744a10674" providerId="AD" clId="Web-{91F6BEAB-5627-4194-AC67-7E4D76659F1A}" dt="2024-06-14T16:00:23.364" v="5"/>
          <ac:picMkLst>
            <pc:docMk/>
            <pc:sldMk cId="1760481120" sldId="3332"/>
            <ac:picMk id="6" creationId="{ED75143F-C574-CB50-5577-5C21598B4733}"/>
          </ac:picMkLst>
        </pc:picChg>
      </pc:sldChg>
    </pc:docChg>
  </pc:docChgLst>
  <pc:docChgLst>
    <pc:chgData name="Alvarado Menendez, Leonardo" userId="S::lalvaradomenendez@deloitte.com::905d9c53-4bde-43eb-84a8-1d1744a10674" providerId="AD" clId="Web-{57552E62-C29F-4AAF-A1E5-116DA0394714}"/>
    <pc:docChg chg="modSld">
      <pc:chgData name="Alvarado Menendez, Leonardo" userId="S::lalvaradomenendez@deloitte.com::905d9c53-4bde-43eb-84a8-1d1744a10674" providerId="AD" clId="Web-{57552E62-C29F-4AAF-A1E5-116DA0394714}" dt="2024-05-31T16:02:29.902" v="25" actId="20577"/>
      <pc:docMkLst>
        <pc:docMk/>
      </pc:docMkLst>
      <pc:sldChg chg="modSp">
        <pc:chgData name="Alvarado Menendez, Leonardo" userId="S::lalvaradomenendez@deloitte.com::905d9c53-4bde-43eb-84a8-1d1744a10674" providerId="AD" clId="Web-{57552E62-C29F-4AAF-A1E5-116DA0394714}" dt="2024-05-31T16:02:29.902" v="25" actId="20577"/>
        <pc:sldMkLst>
          <pc:docMk/>
          <pc:sldMk cId="240753442" sldId="3326"/>
        </pc:sldMkLst>
        <pc:spChg chg="mod">
          <ac:chgData name="Alvarado Menendez, Leonardo" userId="S::lalvaradomenendez@deloitte.com::905d9c53-4bde-43eb-84a8-1d1744a10674" providerId="AD" clId="Web-{57552E62-C29F-4AAF-A1E5-116DA0394714}" dt="2024-05-31T16:02:29.902" v="25" actId="20577"/>
          <ac:spMkLst>
            <pc:docMk/>
            <pc:sldMk cId="240753442" sldId="3326"/>
            <ac:spMk id="9" creationId="{BF155E4A-7AD8-3F63-8A1E-DFCE998D0FF2}"/>
          </ac:spMkLst>
        </pc:spChg>
      </pc:sldChg>
    </pc:docChg>
  </pc:docChgLst>
  <pc:docChgLst>
    <pc:chgData name="Alvarado Menendez, Leonardo" userId="S::lalvaradomenendez@deloitte.com::905d9c53-4bde-43eb-84a8-1d1744a10674" providerId="AD" clId="Web-{146C9DB2-D8AF-4481-9DE4-81E2BFCE364A}"/>
    <pc:docChg chg="modSld">
      <pc:chgData name="Alvarado Menendez, Leonardo" userId="S::lalvaradomenendez@deloitte.com::905d9c53-4bde-43eb-84a8-1d1744a10674" providerId="AD" clId="Web-{146C9DB2-D8AF-4481-9DE4-81E2BFCE364A}" dt="2024-05-31T14:57:59.394" v="3"/>
      <pc:docMkLst>
        <pc:docMk/>
      </pc:docMkLst>
      <pc:sldChg chg="addSp modSp mod setBg">
        <pc:chgData name="Alvarado Menendez, Leonardo" userId="S::lalvaradomenendez@deloitte.com::905d9c53-4bde-43eb-84a8-1d1744a10674" providerId="AD" clId="Web-{146C9DB2-D8AF-4481-9DE4-81E2BFCE364A}" dt="2024-05-31T14:50:09.110" v="2"/>
        <pc:sldMkLst>
          <pc:docMk/>
          <pc:sldMk cId="224413862" sldId="259"/>
        </pc:sldMkLst>
        <pc:spChg chg="mod">
          <ac:chgData name="Alvarado Menendez, Leonardo" userId="S::lalvaradomenendez@deloitte.com::905d9c53-4bde-43eb-84a8-1d1744a10674" providerId="AD" clId="Web-{146C9DB2-D8AF-4481-9DE4-81E2BFCE364A}" dt="2024-05-31T14:50:09.110" v="2"/>
          <ac:spMkLst>
            <pc:docMk/>
            <pc:sldMk cId="224413862" sldId="259"/>
            <ac:spMk id="20" creationId="{02998329-293A-1918-2D05-53B36B9BA2D1}"/>
          </ac:spMkLst>
        </pc:spChg>
        <pc:spChg chg="add">
          <ac:chgData name="Alvarado Menendez, Leonardo" userId="S::lalvaradomenendez@deloitte.com::905d9c53-4bde-43eb-84a8-1d1744a10674" providerId="AD" clId="Web-{146C9DB2-D8AF-4481-9DE4-81E2BFCE364A}" dt="2024-05-31T14:50:09.110" v="2"/>
          <ac:spMkLst>
            <pc:docMk/>
            <pc:sldMk cId="224413862" sldId="259"/>
            <ac:spMk id="25" creationId="{D12DDE76-C203-4047-9998-63900085B5E8}"/>
          </ac:spMkLst>
        </pc:spChg>
        <pc:picChg chg="mod ord">
          <ac:chgData name="Alvarado Menendez, Leonardo" userId="S::lalvaradomenendez@deloitte.com::905d9c53-4bde-43eb-84a8-1d1744a10674" providerId="AD" clId="Web-{146C9DB2-D8AF-4481-9DE4-81E2BFCE364A}" dt="2024-05-31T14:50:09.110" v="2"/>
          <ac:picMkLst>
            <pc:docMk/>
            <pc:sldMk cId="224413862" sldId="259"/>
            <ac:picMk id="7" creationId="{4E845F0F-A991-649C-3593-3C64E2085A45}"/>
          </ac:picMkLst>
        </pc:picChg>
      </pc:sldChg>
      <pc:sldChg chg="addSp delSp modSp mod setBg">
        <pc:chgData name="Alvarado Menendez, Leonardo" userId="S::lalvaradomenendez@deloitte.com::905d9c53-4bde-43eb-84a8-1d1744a10674" providerId="AD" clId="Web-{146C9DB2-D8AF-4481-9DE4-81E2BFCE364A}" dt="2024-05-31T14:57:59.394" v="3"/>
        <pc:sldMkLst>
          <pc:docMk/>
          <pc:sldMk cId="1553775843" sldId="3328"/>
        </pc:sldMkLst>
        <pc:spChg chg="mod">
          <ac:chgData name="Alvarado Menendez, Leonardo" userId="S::lalvaradomenendez@deloitte.com::905d9c53-4bde-43eb-84a8-1d1744a10674" providerId="AD" clId="Web-{146C9DB2-D8AF-4481-9DE4-81E2BFCE364A}" dt="2024-05-31T14:57:59.394" v="3"/>
          <ac:spMkLst>
            <pc:docMk/>
            <pc:sldMk cId="1553775843" sldId="3328"/>
            <ac:spMk id="2" creationId="{072947A4-D6F3-486D-2D30-10BEF2647F10}"/>
          </ac:spMkLst>
        </pc:spChg>
        <pc:spChg chg="add del">
          <ac:chgData name="Alvarado Menendez, Leonardo" userId="S::lalvaradomenendez@deloitte.com::905d9c53-4bde-43eb-84a8-1d1744a10674" providerId="AD" clId="Web-{146C9DB2-D8AF-4481-9DE4-81E2BFCE364A}" dt="2024-05-31T14:57:59.394" v="3"/>
          <ac:spMkLst>
            <pc:docMk/>
            <pc:sldMk cId="1553775843" sldId="3328"/>
            <ac:spMk id="3" creationId="{F4E3AFDC-1DC7-C655-BA98-BB0985C5EADC}"/>
          </ac:spMkLst>
        </pc:spChg>
        <pc:spChg chg="add">
          <ac:chgData name="Alvarado Menendez, Leonardo" userId="S::lalvaradomenendez@deloitte.com::905d9c53-4bde-43eb-84a8-1d1744a10674" providerId="AD" clId="Web-{146C9DB2-D8AF-4481-9DE4-81E2BFCE364A}" dt="2024-05-31T14:57:59.394" v="3"/>
          <ac:spMkLst>
            <pc:docMk/>
            <pc:sldMk cId="1553775843" sldId="3328"/>
            <ac:spMk id="9" creationId="{35DB3719-6FDC-4E5D-891D-FF40B7300F64}"/>
          </ac:spMkLst>
        </pc:spChg>
        <pc:spChg chg="add">
          <ac:chgData name="Alvarado Menendez, Leonardo" userId="S::lalvaradomenendez@deloitte.com::905d9c53-4bde-43eb-84a8-1d1744a10674" providerId="AD" clId="Web-{146C9DB2-D8AF-4481-9DE4-81E2BFCE364A}" dt="2024-05-31T14:57:59.394" v="3"/>
          <ac:spMkLst>
            <pc:docMk/>
            <pc:sldMk cId="1553775843" sldId="3328"/>
            <ac:spMk id="11" creationId="{E0CBAC23-2E3F-4A90-BA59-F8299F6A5439}"/>
          </ac:spMkLst>
        </pc:spChg>
        <pc:graphicFrameChg chg="add del mod ord modGraphic">
          <ac:chgData name="Alvarado Menendez, Leonardo" userId="S::lalvaradomenendez@deloitte.com::905d9c53-4bde-43eb-84a8-1d1744a10674" providerId="AD" clId="Web-{146C9DB2-D8AF-4481-9DE4-81E2BFCE364A}" dt="2024-05-31T14:46:54.852" v="1"/>
          <ac:graphicFrameMkLst>
            <pc:docMk/>
            <pc:sldMk cId="1553775843" sldId="3328"/>
            <ac:graphicFrameMk id="5" creationId="{81FB0D02-9917-361E-B135-7CE9C6D75339}"/>
          </ac:graphicFrameMkLst>
        </pc:graphicFrameChg>
        <pc:graphicFrameChg chg="add">
          <ac:chgData name="Alvarado Menendez, Leonardo" userId="S::lalvaradomenendez@deloitte.com::905d9c53-4bde-43eb-84a8-1d1744a10674" providerId="AD" clId="Web-{146C9DB2-D8AF-4481-9DE4-81E2BFCE364A}" dt="2024-05-31T14:57:59.394" v="3"/>
          <ac:graphicFrameMkLst>
            <pc:docMk/>
            <pc:sldMk cId="1553775843" sldId="3328"/>
            <ac:graphicFrameMk id="6" creationId="{0153F0DB-EF2D-63B4-0ADD-9AAAD8CE7B83}"/>
          </ac:graphicFrameMkLst>
        </pc:graphicFrameChg>
      </pc:sldChg>
    </pc:docChg>
  </pc:docChgLst>
  <pc:docChgLst>
    <pc:chgData name="Averill, Charles Alan" userId="S::caverill@deloitte.com::45bd19d9-dee6-442d-abd0-319f6b164f50" providerId="AD" clId="Web-{80DE3578-65FD-19FF-5DE8-A22AC970E016}"/>
    <pc:docChg chg="addSld delSld modSld">
      <pc:chgData name="Averill, Charles Alan" userId="S::caverill@deloitte.com::45bd19d9-dee6-442d-abd0-319f6b164f50" providerId="AD" clId="Web-{80DE3578-65FD-19FF-5DE8-A22AC970E016}" dt="2024-05-30T15:47:03.310" v="50"/>
      <pc:docMkLst>
        <pc:docMk/>
      </pc:docMkLst>
      <pc:sldChg chg="addSp delSp modSp">
        <pc:chgData name="Averill, Charles Alan" userId="S::caverill@deloitte.com::45bd19d9-dee6-442d-abd0-319f6b164f50" providerId="AD" clId="Web-{80DE3578-65FD-19FF-5DE8-A22AC970E016}" dt="2024-05-30T15:33:06.967" v="29"/>
        <pc:sldMkLst>
          <pc:docMk/>
          <pc:sldMk cId="2614706390" sldId="256"/>
        </pc:sldMkLst>
        <pc:picChg chg="add del mod">
          <ac:chgData name="Averill, Charles Alan" userId="S::caverill@deloitte.com::45bd19d9-dee6-442d-abd0-319f6b164f50" providerId="AD" clId="Web-{80DE3578-65FD-19FF-5DE8-A22AC970E016}" dt="2024-05-30T15:33:06.967" v="29"/>
          <ac:picMkLst>
            <pc:docMk/>
            <pc:sldMk cId="2614706390" sldId="256"/>
            <ac:picMk id="4" creationId="{8CE1DE44-FE4D-1592-F9EB-10C03457B41F}"/>
          </ac:picMkLst>
        </pc:picChg>
      </pc:sldChg>
      <pc:sldChg chg="delSp modSp add">
        <pc:chgData name="Averill, Charles Alan" userId="S::caverill@deloitte.com::45bd19d9-dee6-442d-abd0-319f6b164f50" providerId="AD" clId="Web-{80DE3578-65FD-19FF-5DE8-A22AC970E016}" dt="2024-05-30T15:34:31.982" v="49"/>
        <pc:sldMkLst>
          <pc:docMk/>
          <pc:sldMk cId="3633960545" sldId="340"/>
        </pc:sldMkLst>
        <pc:spChg chg="del">
          <ac:chgData name="Averill, Charles Alan" userId="S::caverill@deloitte.com::45bd19d9-dee6-442d-abd0-319f6b164f50" providerId="AD" clId="Web-{80DE3578-65FD-19FF-5DE8-A22AC970E016}" dt="2024-05-30T15:34:31.982" v="49"/>
          <ac:spMkLst>
            <pc:docMk/>
            <pc:sldMk cId="3633960545" sldId="340"/>
            <ac:spMk id="11" creationId="{E3575E77-DA0B-453E-85E5-0B4E8A1A5018}"/>
          </ac:spMkLst>
        </pc:spChg>
        <pc:spChg chg="mod">
          <ac:chgData name="Averill, Charles Alan" userId="S::caverill@deloitte.com::45bd19d9-dee6-442d-abd0-319f6b164f50" providerId="AD" clId="Web-{80DE3578-65FD-19FF-5DE8-A22AC970E016}" dt="2024-05-30T15:22:59.076" v="1"/>
          <ac:spMkLst>
            <pc:docMk/>
            <pc:sldMk cId="3633960545" sldId="340"/>
            <ac:spMk id="26" creationId="{F5C4CF1B-2063-65D4-BA87-5C3687C59142}"/>
          </ac:spMkLst>
        </pc:spChg>
      </pc:sldChg>
      <pc:sldChg chg="add del">
        <pc:chgData name="Averill, Charles Alan" userId="S::caverill@deloitte.com::45bd19d9-dee6-442d-abd0-319f6b164f50" providerId="AD" clId="Web-{80DE3578-65FD-19FF-5DE8-A22AC970E016}" dt="2024-05-30T15:30:01.982" v="3"/>
        <pc:sldMkLst>
          <pc:docMk/>
          <pc:sldMk cId="2337392347" sldId="341"/>
        </pc:sldMkLst>
      </pc:sldChg>
      <pc:sldChg chg="addSp delSp modSp add del">
        <pc:chgData name="Averill, Charles Alan" userId="S::caverill@deloitte.com::45bd19d9-dee6-442d-abd0-319f6b164f50" providerId="AD" clId="Web-{80DE3578-65FD-19FF-5DE8-A22AC970E016}" dt="2024-05-30T15:34:24.342" v="48"/>
        <pc:sldMkLst>
          <pc:docMk/>
          <pc:sldMk cId="952795508" sldId="470"/>
        </pc:sldMkLst>
        <pc:spChg chg="mod">
          <ac:chgData name="Averill, Charles Alan" userId="S::caverill@deloitte.com::45bd19d9-dee6-442d-abd0-319f6b164f50" providerId="AD" clId="Web-{80DE3578-65FD-19FF-5DE8-A22AC970E016}" dt="2024-05-30T15:30:35.561" v="7" actId="20577"/>
          <ac:spMkLst>
            <pc:docMk/>
            <pc:sldMk cId="952795508" sldId="470"/>
            <ac:spMk id="2" creationId="{2BDB3738-947A-474A-B66F-B221CD9AB9AE}"/>
          </ac:spMkLst>
        </pc:spChg>
        <pc:spChg chg="mod">
          <ac:chgData name="Averill, Charles Alan" userId="S::caverill@deloitte.com::45bd19d9-dee6-442d-abd0-319f6b164f50" providerId="AD" clId="Web-{80DE3578-65FD-19FF-5DE8-A22AC970E016}" dt="2024-05-30T15:32:00.873" v="23" actId="20577"/>
          <ac:spMkLst>
            <pc:docMk/>
            <pc:sldMk cId="952795508" sldId="470"/>
            <ac:spMk id="5" creationId="{2CE07E8C-2E1D-4468-8226-5B3FE27029F4}"/>
          </ac:spMkLst>
        </pc:spChg>
        <pc:picChg chg="add del mod">
          <ac:chgData name="Averill, Charles Alan" userId="S::caverill@deloitte.com::45bd19d9-dee6-442d-abd0-319f6b164f50" providerId="AD" clId="Web-{80DE3578-65FD-19FF-5DE8-A22AC970E016}" dt="2024-05-30T15:32:42.545" v="27"/>
          <ac:picMkLst>
            <pc:docMk/>
            <pc:sldMk cId="952795508" sldId="470"/>
            <ac:picMk id="3" creationId="{87A16F5E-BD75-1094-094B-78FA9DD0E25B}"/>
          </ac:picMkLst>
        </pc:picChg>
      </pc:sldChg>
      <pc:sldChg chg="add">
        <pc:chgData name="Averill, Charles Alan" userId="S::caverill@deloitte.com::45bd19d9-dee6-442d-abd0-319f6b164f50" providerId="AD" clId="Web-{80DE3578-65FD-19FF-5DE8-A22AC970E016}" dt="2024-05-30T15:47:03.310" v="50"/>
        <pc:sldMkLst>
          <pc:docMk/>
          <pc:sldMk cId="2867121157" sldId="3280"/>
        </pc:sldMkLst>
      </pc:sldChg>
      <pc:sldChg chg="addSp delSp modSp add">
        <pc:chgData name="Averill, Charles Alan" userId="S::caverill@deloitte.com::45bd19d9-dee6-442d-abd0-319f6b164f50" providerId="AD" clId="Web-{80DE3578-65FD-19FF-5DE8-A22AC970E016}" dt="2024-05-30T15:34:13.248" v="47" actId="1076"/>
        <pc:sldMkLst>
          <pc:docMk/>
          <pc:sldMk cId="240753442" sldId="3326"/>
        </pc:sldMkLst>
        <pc:spChg chg="del mod">
          <ac:chgData name="Averill, Charles Alan" userId="S::caverill@deloitte.com::45bd19d9-dee6-442d-abd0-319f6b164f50" providerId="AD" clId="Web-{80DE3578-65FD-19FF-5DE8-A22AC970E016}" dt="2024-05-30T15:33:45.795" v="36"/>
          <ac:spMkLst>
            <pc:docMk/>
            <pc:sldMk cId="240753442" sldId="3326"/>
            <ac:spMk id="2" creationId="{2BDB3738-947A-474A-B66F-B221CD9AB9AE}"/>
          </ac:spMkLst>
        </pc:spChg>
        <pc:spChg chg="add del mod">
          <ac:chgData name="Averill, Charles Alan" userId="S::caverill@deloitte.com::45bd19d9-dee6-442d-abd0-319f6b164f50" providerId="AD" clId="Web-{80DE3578-65FD-19FF-5DE8-A22AC970E016}" dt="2024-05-30T15:33:56.264" v="41"/>
          <ac:spMkLst>
            <pc:docMk/>
            <pc:sldMk cId="240753442" sldId="3326"/>
            <ac:spMk id="4" creationId="{9A81AC3A-6395-C344-3E16-9907162017E3}"/>
          </ac:spMkLst>
        </pc:spChg>
        <pc:spChg chg="del mod">
          <ac:chgData name="Averill, Charles Alan" userId="S::caverill@deloitte.com::45bd19d9-dee6-442d-abd0-319f6b164f50" providerId="AD" clId="Web-{80DE3578-65FD-19FF-5DE8-A22AC970E016}" dt="2024-05-30T15:33:48.779" v="38"/>
          <ac:spMkLst>
            <pc:docMk/>
            <pc:sldMk cId="240753442" sldId="3326"/>
            <ac:spMk id="5" creationId="{2CE07E8C-2E1D-4468-8226-5B3FE27029F4}"/>
          </ac:spMkLst>
        </pc:spChg>
        <pc:spChg chg="add del mod">
          <ac:chgData name="Averill, Charles Alan" userId="S::caverill@deloitte.com::45bd19d9-dee6-442d-abd0-319f6b164f50" providerId="AD" clId="Web-{80DE3578-65FD-19FF-5DE8-A22AC970E016}" dt="2024-05-30T15:34:06.311" v="45"/>
          <ac:spMkLst>
            <pc:docMk/>
            <pc:sldMk cId="240753442" sldId="3326"/>
            <ac:spMk id="7" creationId="{45952C0D-DDC7-A6F1-3FA7-F13D61612E6D}"/>
          </ac:spMkLst>
        </pc:spChg>
        <pc:spChg chg="add mod">
          <ac:chgData name="Averill, Charles Alan" userId="S::caverill@deloitte.com::45bd19d9-dee6-442d-abd0-319f6b164f50" providerId="AD" clId="Web-{80DE3578-65FD-19FF-5DE8-A22AC970E016}" dt="2024-05-30T15:34:09.982" v="46" actId="1076"/>
          <ac:spMkLst>
            <pc:docMk/>
            <pc:sldMk cId="240753442" sldId="3326"/>
            <ac:spMk id="9" creationId="{BF155E4A-7AD8-3F63-8A1E-DFCE998D0FF2}"/>
          </ac:spMkLst>
        </pc:spChg>
        <pc:spChg chg="add del mod">
          <ac:chgData name="Averill, Charles Alan" userId="S::caverill@deloitte.com::45bd19d9-dee6-442d-abd0-319f6b164f50" providerId="AD" clId="Web-{80DE3578-65FD-19FF-5DE8-A22AC970E016}" dt="2024-05-30T15:34:13.248" v="47" actId="1076"/>
          <ac:spMkLst>
            <pc:docMk/>
            <pc:sldMk cId="240753442" sldId="3326"/>
            <ac:spMk id="11" creationId="{CC29EC0A-C510-DB0F-3650-4E9209A5792F}"/>
          </ac:spMkLst>
        </pc:spChg>
        <pc:spChg chg="mod">
          <ac:chgData name="Averill, Charles Alan" userId="S::caverill@deloitte.com::45bd19d9-dee6-442d-abd0-319f6b164f50" providerId="AD" clId="Web-{80DE3578-65FD-19FF-5DE8-A22AC970E016}" dt="2024-05-30T15:33:41.404" v="34" actId="1076"/>
          <ac:spMkLst>
            <pc:docMk/>
            <pc:sldMk cId="240753442" sldId="3326"/>
            <ac:spMk id="19" creationId="{E5F6FE0E-2B3E-3F4A-8779-4C17C0A5C43E}"/>
          </ac:spMkLst>
        </pc:spChg>
      </pc:sldChg>
      <pc:sldMasterChg chg="addSldLayout">
        <pc:chgData name="Averill, Charles Alan" userId="S::caverill@deloitte.com::45bd19d9-dee6-442d-abd0-319f6b164f50" providerId="AD" clId="Web-{80DE3578-65FD-19FF-5DE8-A22AC970E016}" dt="2024-05-30T15:47:03.310" v="50"/>
        <pc:sldMasterMkLst>
          <pc:docMk/>
          <pc:sldMasterMk cId="1968898803" sldId="2147483648"/>
        </pc:sldMasterMkLst>
        <pc:sldLayoutChg chg="add">
          <pc:chgData name="Averill, Charles Alan" userId="S::caverill@deloitte.com::45bd19d9-dee6-442d-abd0-319f6b164f50" providerId="AD" clId="Web-{80DE3578-65FD-19FF-5DE8-A22AC970E016}" dt="2024-05-30T15:20:39.123" v="0"/>
          <pc:sldLayoutMkLst>
            <pc:docMk/>
            <pc:sldMasterMk cId="1968898803" sldId="2147483648"/>
            <pc:sldLayoutMk cId="3266056260" sldId="2147483660"/>
          </pc:sldLayoutMkLst>
        </pc:sldLayoutChg>
        <pc:sldLayoutChg chg="add">
          <pc:chgData name="Averill, Charles Alan" userId="S::caverill@deloitte.com::45bd19d9-dee6-442d-abd0-319f6b164f50" providerId="AD" clId="Web-{80DE3578-65FD-19FF-5DE8-A22AC970E016}" dt="2024-05-30T15:30:11.795" v="4"/>
          <pc:sldLayoutMkLst>
            <pc:docMk/>
            <pc:sldMasterMk cId="1968898803" sldId="2147483648"/>
            <pc:sldLayoutMk cId="2142688984" sldId="2147483661"/>
          </pc:sldLayoutMkLst>
        </pc:sldLayoutChg>
        <pc:sldLayoutChg chg="add">
          <pc:chgData name="Averill, Charles Alan" userId="S::caverill@deloitte.com::45bd19d9-dee6-442d-abd0-319f6b164f50" providerId="AD" clId="Web-{80DE3578-65FD-19FF-5DE8-A22AC970E016}" dt="2024-05-30T15:47:03.310" v="50"/>
          <pc:sldLayoutMkLst>
            <pc:docMk/>
            <pc:sldMasterMk cId="1968898803" sldId="2147483648"/>
            <pc:sldLayoutMk cId="1320952899" sldId="2147483662"/>
          </pc:sldLayoutMkLst>
        </pc:sldLayoutChg>
      </pc:sldMasterChg>
    </pc:docChg>
  </pc:docChgLst>
  <pc:docChgLst>
    <pc:chgData name="Alvarado Menendez, Leonardo" userId="S::lalvaradomenendez@deloitte.com::905d9c53-4bde-43eb-84a8-1d1744a10674" providerId="AD" clId="Web-{2C8B4FD7-2B17-43EF-8CD9-D1D07DBCDF30}"/>
    <pc:docChg chg="modSld">
      <pc:chgData name="Alvarado Menendez, Leonardo" userId="S::lalvaradomenendez@deloitte.com::905d9c53-4bde-43eb-84a8-1d1744a10674" providerId="AD" clId="Web-{2C8B4FD7-2B17-43EF-8CD9-D1D07DBCDF30}" dt="2024-05-31T14:29:29.462" v="1"/>
      <pc:docMkLst>
        <pc:docMk/>
      </pc:docMkLst>
      <pc:sldChg chg="modTransition">
        <pc:chgData name="Alvarado Menendez, Leonardo" userId="S::lalvaradomenendez@deloitte.com::905d9c53-4bde-43eb-84a8-1d1744a10674" providerId="AD" clId="Web-{2C8B4FD7-2B17-43EF-8CD9-D1D07DBCDF30}" dt="2024-05-31T14:29:16.946" v="0"/>
        <pc:sldMkLst>
          <pc:docMk/>
          <pc:sldMk cId="224413862" sldId="259"/>
        </pc:sldMkLst>
      </pc:sldChg>
      <pc:sldChg chg="modTransition">
        <pc:chgData name="Alvarado Menendez, Leonardo" userId="S::lalvaradomenendez@deloitte.com::905d9c53-4bde-43eb-84a8-1d1744a10674" providerId="AD" clId="Web-{2C8B4FD7-2B17-43EF-8CD9-D1D07DBCDF30}" dt="2024-05-31T14:29:29.462" v="1"/>
        <pc:sldMkLst>
          <pc:docMk/>
          <pc:sldMk cId="2058249102" sldId="333"/>
        </pc:sldMkLst>
      </pc:sldChg>
    </pc:docChg>
  </pc:docChgLst>
  <pc:docChgLst>
    <pc:chgData name="Averill, Charles Alan" userId="S::caverill@deloitte.com::45bd19d9-dee6-442d-abd0-319f6b164f50" providerId="AD" clId="Web-{C37D86CB-E36C-E695-DE00-B09212046A5C}"/>
    <pc:docChg chg="delSld modSld">
      <pc:chgData name="Averill, Charles Alan" userId="S::caverill@deloitte.com::45bd19d9-dee6-442d-abd0-319f6b164f50" providerId="AD" clId="Web-{C37D86CB-E36C-E695-DE00-B09212046A5C}" dt="2024-05-31T12:16:05.602" v="4"/>
      <pc:docMkLst>
        <pc:docMk/>
      </pc:docMkLst>
      <pc:sldChg chg="del">
        <pc:chgData name="Averill, Charles Alan" userId="S::caverill@deloitte.com::45bd19d9-dee6-442d-abd0-319f6b164f50" providerId="AD" clId="Web-{C37D86CB-E36C-E695-DE00-B09212046A5C}" dt="2024-05-31T12:16:05.602" v="4"/>
        <pc:sldMkLst>
          <pc:docMk/>
          <pc:sldMk cId="2836994187" sldId="258"/>
        </pc:sldMkLst>
      </pc:sldChg>
      <pc:sldChg chg="modSp">
        <pc:chgData name="Averill, Charles Alan" userId="S::caverill@deloitte.com::45bd19d9-dee6-442d-abd0-319f6b164f50" providerId="AD" clId="Web-{C37D86CB-E36C-E695-DE00-B09212046A5C}" dt="2024-05-31T12:15:57.836" v="3"/>
        <pc:sldMkLst>
          <pc:docMk/>
          <pc:sldMk cId="2867121157" sldId="3280"/>
        </pc:sldMkLst>
        <pc:spChg chg="mod">
          <ac:chgData name="Averill, Charles Alan" userId="S::caverill@deloitte.com::45bd19d9-dee6-442d-abd0-319f6b164f50" providerId="AD" clId="Web-{C37D86CB-E36C-E695-DE00-B09212046A5C}" dt="2024-05-31T12:15:57.805" v="0"/>
          <ac:spMkLst>
            <pc:docMk/>
            <pc:sldMk cId="2867121157" sldId="3280"/>
            <ac:spMk id="6" creationId="{4A3A706C-62AF-9745-A009-06F94566D6D7}"/>
          </ac:spMkLst>
        </pc:spChg>
        <pc:spChg chg="mod">
          <ac:chgData name="Averill, Charles Alan" userId="S::caverill@deloitte.com::45bd19d9-dee6-442d-abd0-319f6b164f50" providerId="AD" clId="Web-{C37D86CB-E36C-E695-DE00-B09212046A5C}" dt="2024-05-31T12:15:57.805" v="1"/>
          <ac:spMkLst>
            <pc:docMk/>
            <pc:sldMk cId="2867121157" sldId="3280"/>
            <ac:spMk id="10" creationId="{E18AE20D-0E0D-9847-85A3-D79F1795988E}"/>
          </ac:spMkLst>
        </pc:spChg>
        <pc:spChg chg="mod">
          <ac:chgData name="Averill, Charles Alan" userId="S::caverill@deloitte.com::45bd19d9-dee6-442d-abd0-319f6b164f50" providerId="AD" clId="Web-{C37D86CB-E36C-E695-DE00-B09212046A5C}" dt="2024-05-31T12:15:57.805" v="2"/>
          <ac:spMkLst>
            <pc:docMk/>
            <pc:sldMk cId="2867121157" sldId="3280"/>
            <ac:spMk id="14" creationId="{BC52A068-73E2-134D-B964-530674C3CBF4}"/>
          </ac:spMkLst>
        </pc:spChg>
        <pc:spChg chg="mod">
          <ac:chgData name="Averill, Charles Alan" userId="S::caverill@deloitte.com::45bd19d9-dee6-442d-abd0-319f6b164f50" providerId="AD" clId="Web-{C37D86CB-E36C-E695-DE00-B09212046A5C}" dt="2024-05-31T12:15:57.836" v="3"/>
          <ac:spMkLst>
            <pc:docMk/>
            <pc:sldMk cId="2867121157" sldId="3280"/>
            <ac:spMk id="18" creationId="{2FE268EB-4EEB-F845-BB46-49DC77FBBD86}"/>
          </ac:spMkLst>
        </pc:spChg>
      </pc:sldChg>
    </pc:docChg>
  </pc:docChgLst>
  <pc:docChgLst>
    <pc:chgData name="Rice, Daniel I" userId="S::drice@deloitte.com::98c2cb33-0d7c-489d-a193-7e1234fa5e89" providerId="AD" clId="Web-{D07E4A75-6D90-7CD7-DEE5-653F04A5A40B}"/>
    <pc:docChg chg="modSld">
      <pc:chgData name="Rice, Daniel I" userId="S::drice@deloitte.com::98c2cb33-0d7c-489d-a193-7e1234fa5e89" providerId="AD" clId="Web-{D07E4A75-6D90-7CD7-DEE5-653F04A5A40B}" dt="2024-06-12T15:21:55.714" v="525"/>
      <pc:docMkLst>
        <pc:docMk/>
      </pc:docMkLst>
      <pc:sldChg chg="modSp modCm">
        <pc:chgData name="Rice, Daniel I" userId="S::drice@deloitte.com::98c2cb33-0d7c-489d-a193-7e1234fa5e89" providerId="AD" clId="Web-{D07E4A75-6D90-7CD7-DEE5-653F04A5A40B}" dt="2024-06-12T15:21:55.714" v="525"/>
        <pc:sldMkLst>
          <pc:docMk/>
          <pc:sldMk cId="866457816" sldId="324"/>
        </pc:sldMkLst>
        <pc:spChg chg="mod">
          <ac:chgData name="Rice, Daniel I" userId="S::drice@deloitte.com::98c2cb33-0d7c-489d-a193-7e1234fa5e89" providerId="AD" clId="Web-{D07E4A75-6D90-7CD7-DEE5-653F04A5A40B}" dt="2024-06-12T15:10:14.368" v="118" actId="1076"/>
          <ac:spMkLst>
            <pc:docMk/>
            <pc:sldMk cId="866457816" sldId="324"/>
            <ac:spMk id="14" creationId="{7FB34EBA-E09F-D86C-147E-56DC06E85C7A}"/>
          </ac:spMkLst>
        </pc:spChg>
        <pc:picChg chg="mod">
          <ac:chgData name="Rice, Daniel I" userId="S::drice@deloitte.com::98c2cb33-0d7c-489d-a193-7e1234fa5e89" providerId="AD" clId="Web-{D07E4A75-6D90-7CD7-DEE5-653F04A5A40B}" dt="2024-06-12T15:10:17.681" v="119" actId="1076"/>
          <ac:picMkLst>
            <pc:docMk/>
            <pc:sldMk cId="866457816" sldId="324"/>
            <ac:picMk id="17" creationId="{AAD9A91C-7AFA-AD33-F995-10B4961B5A45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Rice, Daniel I" userId="S::drice@deloitte.com::98c2cb33-0d7c-489d-a193-7e1234fa5e89" providerId="AD" clId="Web-{D07E4A75-6D90-7CD7-DEE5-653F04A5A40B}" dt="2024-06-12T15:21:55.714" v="525"/>
              <pc2:cmMkLst xmlns:pc2="http://schemas.microsoft.com/office/powerpoint/2019/9/main/command">
                <pc:docMk/>
                <pc:sldMk cId="866457816" sldId="324"/>
                <pc2:cmMk id="{F8B3E323-3D14-46BD-BDCF-83D76986A2FE}"/>
              </pc2:cmMkLst>
            </pc226:cmChg>
          </p:ext>
        </pc:extLst>
      </pc:sldChg>
      <pc:sldChg chg="modSp modCm">
        <pc:chgData name="Rice, Daniel I" userId="S::drice@deloitte.com::98c2cb33-0d7c-489d-a193-7e1234fa5e89" providerId="AD" clId="Web-{D07E4A75-6D90-7CD7-DEE5-653F04A5A40B}" dt="2024-06-12T15:21:51.401" v="524"/>
        <pc:sldMkLst>
          <pc:docMk/>
          <pc:sldMk cId="2058249102" sldId="333"/>
        </pc:sldMkLst>
        <pc:spChg chg="mod">
          <ac:chgData name="Rice, Daniel I" userId="S::drice@deloitte.com::98c2cb33-0d7c-489d-a193-7e1234fa5e89" providerId="AD" clId="Web-{D07E4A75-6D90-7CD7-DEE5-653F04A5A40B}" dt="2024-06-12T15:11:12.057" v="153" actId="20577"/>
          <ac:spMkLst>
            <pc:docMk/>
            <pc:sldMk cId="2058249102" sldId="333"/>
            <ac:spMk id="3" creationId="{B591FFBB-AECD-C8E3-7D3E-54F96938872F}"/>
          </ac:spMkLst>
        </pc:spChg>
        <pc:spChg chg="mod">
          <ac:chgData name="Rice, Daniel I" userId="S::drice@deloitte.com::98c2cb33-0d7c-489d-a193-7e1234fa5e89" providerId="AD" clId="Web-{D07E4A75-6D90-7CD7-DEE5-653F04A5A40B}" dt="2024-06-12T15:12:46.981" v="237" actId="20577"/>
          <ac:spMkLst>
            <pc:docMk/>
            <pc:sldMk cId="2058249102" sldId="333"/>
            <ac:spMk id="25" creationId="{77B0330E-ACE6-412F-BF5B-AEF1F726B74B}"/>
          </ac:spMkLst>
        </pc:spChg>
        <pc:spChg chg="mod">
          <ac:chgData name="Rice, Daniel I" userId="S::drice@deloitte.com::98c2cb33-0d7c-489d-a193-7e1234fa5e89" providerId="AD" clId="Web-{D07E4A75-6D90-7CD7-DEE5-653F04A5A40B}" dt="2024-06-12T15:14:52.875" v="377" actId="1076"/>
          <ac:spMkLst>
            <pc:docMk/>
            <pc:sldMk cId="2058249102" sldId="333"/>
            <ac:spMk id="27" creationId="{CDEB55E1-950D-4A3B-AEE6-9F38E9CEE864}"/>
          </ac:spMkLst>
        </pc:spChg>
        <pc:grpChg chg="mod">
          <ac:chgData name="Rice, Daniel I" userId="S::drice@deloitte.com::98c2cb33-0d7c-489d-a193-7e1234fa5e89" providerId="AD" clId="Web-{D07E4A75-6D90-7CD7-DEE5-653F04A5A40B}" dt="2024-06-12T15:14:44.672" v="376" actId="1076"/>
          <ac:grpSpMkLst>
            <pc:docMk/>
            <pc:sldMk cId="2058249102" sldId="333"/>
            <ac:grpSpMk id="8" creationId="{15AA86E6-6B6D-114C-B238-8F9D3E2C45B0}"/>
          </ac:grpSpMkLst>
        </pc:gr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Rice, Daniel I" userId="S::drice@deloitte.com::98c2cb33-0d7c-489d-a193-7e1234fa5e89" providerId="AD" clId="Web-{D07E4A75-6D90-7CD7-DEE5-653F04A5A40B}" dt="2024-06-12T15:21:51.401" v="524"/>
              <pc2:cmMkLst xmlns:pc2="http://schemas.microsoft.com/office/powerpoint/2019/9/main/command">
                <pc:docMk/>
                <pc:sldMk cId="2058249102" sldId="333"/>
                <pc2:cmMk id="{CCA5017F-6F24-4151-8A28-AFC4D536B151}"/>
              </pc2:cmMkLst>
            </pc226:cmChg>
          </p:ext>
        </pc:extLst>
      </pc:sldChg>
      <pc:sldChg chg="modSp">
        <pc:chgData name="Rice, Daniel I" userId="S::drice@deloitte.com::98c2cb33-0d7c-489d-a193-7e1234fa5e89" providerId="AD" clId="Web-{D07E4A75-6D90-7CD7-DEE5-653F04A5A40B}" dt="2024-06-12T15:18:09.958" v="523" actId="1076"/>
        <pc:sldMkLst>
          <pc:docMk/>
          <pc:sldMk cId="439701710" sldId="3329"/>
        </pc:sldMkLst>
        <pc:spChg chg="mod">
          <ac:chgData name="Rice, Daniel I" userId="S::drice@deloitte.com::98c2cb33-0d7c-489d-a193-7e1234fa5e89" providerId="AD" clId="Web-{D07E4A75-6D90-7CD7-DEE5-653F04A5A40B}" dt="2024-06-12T15:18:09.958" v="523" actId="1076"/>
          <ac:spMkLst>
            <pc:docMk/>
            <pc:sldMk cId="439701710" sldId="3329"/>
            <ac:spMk id="9" creationId="{4A8568C0-F93B-C08B-E9D4-8E8179A1E6D7}"/>
          </ac:spMkLst>
        </pc:spChg>
        <pc:spChg chg="mod">
          <ac:chgData name="Rice, Daniel I" userId="S::drice@deloitte.com::98c2cb33-0d7c-489d-a193-7e1234fa5e89" providerId="AD" clId="Web-{D07E4A75-6D90-7CD7-DEE5-653F04A5A40B}" dt="2024-06-12T15:16:16.533" v="422" actId="20577"/>
          <ac:spMkLst>
            <pc:docMk/>
            <pc:sldMk cId="439701710" sldId="3329"/>
            <ac:spMk id="26" creationId="{1059DBDF-962B-48D0-8AAA-AC8FE4EFEC46}"/>
          </ac:spMkLst>
        </pc:spChg>
        <pc:spChg chg="mod">
          <ac:chgData name="Rice, Daniel I" userId="S::drice@deloitte.com::98c2cb33-0d7c-489d-a193-7e1234fa5e89" providerId="AD" clId="Web-{D07E4A75-6D90-7CD7-DEE5-653F04A5A40B}" dt="2024-06-12T15:17:00.519" v="474" actId="20577"/>
          <ac:spMkLst>
            <pc:docMk/>
            <pc:sldMk cId="439701710" sldId="3329"/>
            <ac:spMk id="27" creationId="{347D4AE4-AA18-4D80-A78F-C39C3A4F607B}"/>
          </ac:spMkLst>
        </pc:spChg>
      </pc:sldChg>
    </pc:docChg>
  </pc:docChgLst>
  <pc:docChgLst>
    <pc:chgData name="Alvarado Menendez, Leonardo" userId="S::lalvaradomenendez@deloitte.com::905d9c53-4bde-43eb-84a8-1d1744a10674" providerId="AD" clId="Web-{ACE901FC-8668-4641-9EA3-90861F95BA4B}"/>
    <pc:docChg chg="delSld">
      <pc:chgData name="Alvarado Menendez, Leonardo" userId="S::lalvaradomenendez@deloitte.com::905d9c53-4bde-43eb-84a8-1d1744a10674" providerId="AD" clId="Web-{ACE901FC-8668-4641-9EA3-90861F95BA4B}" dt="2024-05-31T07:05:25.639" v="0"/>
      <pc:docMkLst>
        <pc:docMk/>
      </pc:docMkLst>
      <pc:sldChg chg="del">
        <pc:chgData name="Alvarado Menendez, Leonardo" userId="S::lalvaradomenendez@deloitte.com::905d9c53-4bde-43eb-84a8-1d1744a10674" providerId="AD" clId="Web-{ACE901FC-8668-4641-9EA3-90861F95BA4B}" dt="2024-05-31T07:05:25.639" v="0"/>
        <pc:sldMkLst>
          <pc:docMk/>
          <pc:sldMk cId="1398314866" sldId="3328"/>
        </pc:sldMkLst>
      </pc:sldChg>
    </pc:docChg>
  </pc:docChgLst>
  <pc:docChgLst>
    <pc:chgData name="Alvarado Menendez, Leonardo" userId="S::lalvaradomenendez@deloitte.com::905d9c53-4bde-43eb-84a8-1d1744a10674" providerId="AD" clId="Web-{136D3401-2C7A-40E0-9EE1-36BC66B9A414}"/>
    <pc:docChg chg="modSld">
      <pc:chgData name="Alvarado Menendez, Leonardo" userId="S::lalvaradomenendez@deloitte.com::905d9c53-4bde-43eb-84a8-1d1744a10674" providerId="AD" clId="Web-{136D3401-2C7A-40E0-9EE1-36BC66B9A414}" dt="2024-05-31T15:29:51.484" v="0"/>
      <pc:docMkLst>
        <pc:docMk/>
      </pc:docMkLst>
      <pc:sldChg chg="modTransition">
        <pc:chgData name="Alvarado Menendez, Leonardo" userId="S::lalvaradomenendez@deloitte.com::905d9c53-4bde-43eb-84a8-1d1744a10674" providerId="AD" clId="Web-{136D3401-2C7A-40E0-9EE1-36BC66B9A414}" dt="2024-05-31T15:29:51.484" v="0"/>
        <pc:sldMkLst>
          <pc:docMk/>
          <pc:sldMk cId="3743183705" sldId="337"/>
        </pc:sldMkLst>
      </pc:sldChg>
    </pc:docChg>
  </pc:docChgLst>
  <pc:docChgLst>
    <pc:chgData name="Averill, Charles Alan" userId="S::caverill@deloitte.com::45bd19d9-dee6-442d-abd0-319f6b164f50" providerId="AD" clId="Web-{89249CF2-2AA8-4E4E-3822-785E59DF2CED}"/>
    <pc:docChg chg="modSld">
      <pc:chgData name="Averill, Charles Alan" userId="S::caverill@deloitte.com::45bd19d9-dee6-442d-abd0-319f6b164f50" providerId="AD" clId="Web-{89249CF2-2AA8-4E4E-3822-785E59DF2CED}" dt="2024-06-14T15:47:44.670" v="6" actId="1076"/>
      <pc:docMkLst>
        <pc:docMk/>
      </pc:docMkLst>
      <pc:sldChg chg="addSp delSp modSp">
        <pc:chgData name="Averill, Charles Alan" userId="S::caverill@deloitte.com::45bd19d9-dee6-442d-abd0-319f6b164f50" providerId="AD" clId="Web-{89249CF2-2AA8-4E4E-3822-785E59DF2CED}" dt="2024-06-14T15:47:44.670" v="6" actId="1076"/>
        <pc:sldMkLst>
          <pc:docMk/>
          <pc:sldMk cId="1760481120" sldId="3332"/>
        </pc:sldMkLst>
        <pc:picChg chg="del mod">
          <ac:chgData name="Averill, Charles Alan" userId="S::caverill@deloitte.com::45bd19d9-dee6-442d-abd0-319f6b164f50" providerId="AD" clId="Web-{89249CF2-2AA8-4E4E-3822-785E59DF2CED}" dt="2024-06-14T15:47:38.077" v="2"/>
          <ac:picMkLst>
            <pc:docMk/>
            <pc:sldMk cId="1760481120" sldId="3332"/>
            <ac:picMk id="4" creationId="{BFE1F899-D687-5FAD-48F5-70E144392613}"/>
          </ac:picMkLst>
        </pc:picChg>
        <pc:picChg chg="add mod">
          <ac:chgData name="Averill, Charles Alan" userId="S::caverill@deloitte.com::45bd19d9-dee6-442d-abd0-319f6b164f50" providerId="AD" clId="Web-{89249CF2-2AA8-4E4E-3822-785E59DF2CED}" dt="2024-06-14T15:47:44.670" v="6" actId="1076"/>
          <ac:picMkLst>
            <pc:docMk/>
            <pc:sldMk cId="1760481120" sldId="3332"/>
            <ac:picMk id="6" creationId="{ED75143F-C574-CB50-5577-5C21598B4733}"/>
          </ac:picMkLst>
        </pc:picChg>
      </pc:sldChg>
    </pc:docChg>
  </pc:docChgLst>
  <pc:docChgLst>
    <pc:chgData name="Zhu, Aaron" userId="S::aazhu@deloitte.com::79eccb59-c0f8-4541-a452-428dafa76dae" providerId="AD" clId="Web-{50460CD3-983C-704E-ECFF-FA18FABFC9BF}"/>
    <pc:docChg chg="addSld delSld modSld sldOrd">
      <pc:chgData name="Zhu, Aaron" userId="S::aazhu@deloitte.com::79eccb59-c0f8-4541-a452-428dafa76dae" providerId="AD" clId="Web-{50460CD3-983C-704E-ECFF-FA18FABFC9BF}" dt="2024-05-31T14:49:27.903" v="584" actId="20577"/>
      <pc:docMkLst>
        <pc:docMk/>
      </pc:docMkLst>
      <pc:sldChg chg="del ord">
        <pc:chgData name="Zhu, Aaron" userId="S::aazhu@deloitte.com::79eccb59-c0f8-4541-a452-428dafa76dae" providerId="AD" clId="Web-{50460CD3-983C-704E-ECFF-FA18FABFC9BF}" dt="2024-05-31T14:33:49.871" v="539"/>
        <pc:sldMkLst>
          <pc:docMk/>
          <pc:sldMk cId="1123055784" sldId="260"/>
        </pc:sldMkLst>
      </pc:sldChg>
      <pc:sldChg chg="addSp delSp modSp add">
        <pc:chgData name="Zhu, Aaron" userId="S::aazhu@deloitte.com::79eccb59-c0f8-4541-a452-428dafa76dae" providerId="AD" clId="Web-{50460CD3-983C-704E-ECFF-FA18FABFC9BF}" dt="2024-05-30T20:10:48.077" v="537" actId="14100"/>
        <pc:sldMkLst>
          <pc:docMk/>
          <pc:sldMk cId="1402299992" sldId="372"/>
        </pc:sldMkLst>
        <pc:spChg chg="mod">
          <ac:chgData name="Zhu, Aaron" userId="S::aazhu@deloitte.com::79eccb59-c0f8-4541-a452-428dafa76dae" providerId="AD" clId="Web-{50460CD3-983C-704E-ECFF-FA18FABFC9BF}" dt="2024-05-30T19:38:38.955" v="18" actId="20577"/>
          <ac:spMkLst>
            <pc:docMk/>
            <pc:sldMk cId="1402299992" sldId="372"/>
            <ac:spMk id="2" creationId="{861C78E7-7832-4909-A5AC-A4CF6BCB0401}"/>
          </ac:spMkLst>
        </pc:spChg>
        <pc:spChg chg="mod">
          <ac:chgData name="Zhu, Aaron" userId="S::aazhu@deloitte.com::79eccb59-c0f8-4541-a452-428dafa76dae" providerId="AD" clId="Web-{50460CD3-983C-704E-ECFF-FA18FABFC9BF}" dt="2024-05-30T19:41:49.539" v="193" actId="20577"/>
          <ac:spMkLst>
            <pc:docMk/>
            <pc:sldMk cId="1402299992" sldId="372"/>
            <ac:spMk id="3" creationId="{E4AC4D8B-3C3E-48CA-939A-0E45C10ED43B}"/>
          </ac:spMkLst>
        </pc:spChg>
        <pc:spChg chg="add mod">
          <ac:chgData name="Zhu, Aaron" userId="S::aazhu@deloitte.com::79eccb59-c0f8-4541-a452-428dafa76dae" providerId="AD" clId="Web-{50460CD3-983C-704E-ECFF-FA18FABFC9BF}" dt="2024-05-30T19:55:48.940" v="262" actId="14100"/>
          <ac:spMkLst>
            <pc:docMk/>
            <pc:sldMk cId="1402299992" sldId="372"/>
            <ac:spMk id="8" creationId="{0B39ADBC-5C4C-BC37-4911-3D6D880742A6}"/>
          </ac:spMkLst>
        </pc:spChg>
        <pc:spChg chg="add mod">
          <ac:chgData name="Zhu, Aaron" userId="S::aazhu@deloitte.com::79eccb59-c0f8-4541-a452-428dafa76dae" providerId="AD" clId="Web-{50460CD3-983C-704E-ECFF-FA18FABFC9BF}" dt="2024-05-30T19:55:56.878" v="265" actId="14100"/>
          <ac:spMkLst>
            <pc:docMk/>
            <pc:sldMk cId="1402299992" sldId="372"/>
            <ac:spMk id="9" creationId="{6F8D91C7-9386-7442-ED5E-818A40C43BA0}"/>
          </ac:spMkLst>
        </pc:spChg>
        <pc:spChg chg="del">
          <ac:chgData name="Zhu, Aaron" userId="S::aazhu@deloitte.com::79eccb59-c0f8-4541-a452-428dafa76dae" providerId="AD" clId="Web-{50460CD3-983C-704E-ECFF-FA18FABFC9BF}" dt="2024-05-30T19:53:54.405" v="237"/>
          <ac:spMkLst>
            <pc:docMk/>
            <pc:sldMk cId="1402299992" sldId="372"/>
            <ac:spMk id="17" creationId="{1745C894-3EA9-42C7-BB65-0315DEE0A26C}"/>
          </ac:spMkLst>
        </pc:spChg>
        <pc:spChg chg="mod">
          <ac:chgData name="Zhu, Aaron" userId="S::aazhu@deloitte.com::79eccb59-c0f8-4541-a452-428dafa76dae" providerId="AD" clId="Web-{50460CD3-983C-704E-ECFF-FA18FABFC9BF}" dt="2024-05-30T20:10:48.077" v="537" actId="14100"/>
          <ac:spMkLst>
            <pc:docMk/>
            <pc:sldMk cId="1402299992" sldId="372"/>
            <ac:spMk id="18" creationId="{85E2B64A-5BD8-4CDF-A648-40F92CCB8A51}"/>
          </ac:spMkLst>
        </pc:spChg>
        <pc:spChg chg="del">
          <ac:chgData name="Zhu, Aaron" userId="S::aazhu@deloitte.com::79eccb59-c0f8-4541-a452-428dafa76dae" providerId="AD" clId="Web-{50460CD3-983C-704E-ECFF-FA18FABFC9BF}" dt="2024-05-30T19:54:08.812" v="242"/>
          <ac:spMkLst>
            <pc:docMk/>
            <pc:sldMk cId="1402299992" sldId="372"/>
            <ac:spMk id="19" creationId="{FDF71F76-C2AB-4F9E-BDF8-068A4DB4E0C4}"/>
          </ac:spMkLst>
        </pc:spChg>
        <pc:spChg chg="add del mod">
          <ac:chgData name="Zhu, Aaron" userId="S::aazhu@deloitte.com::79eccb59-c0f8-4541-a452-428dafa76dae" providerId="AD" clId="Web-{50460CD3-983C-704E-ECFF-FA18FABFC9BF}" dt="2024-05-30T20:04:55.785" v="508" actId="20577"/>
          <ac:spMkLst>
            <pc:docMk/>
            <pc:sldMk cId="1402299992" sldId="372"/>
            <ac:spMk id="20" creationId="{D95B1F3D-19C6-494F-AEBB-8274FF1FFE5C}"/>
          </ac:spMkLst>
        </pc:spChg>
        <pc:spChg chg="add del">
          <ac:chgData name="Zhu, Aaron" userId="S::aazhu@deloitte.com::79eccb59-c0f8-4541-a452-428dafa76dae" providerId="AD" clId="Web-{50460CD3-983C-704E-ECFF-FA18FABFC9BF}" dt="2024-05-30T19:54:43.579" v="254"/>
          <ac:spMkLst>
            <pc:docMk/>
            <pc:sldMk cId="1402299992" sldId="372"/>
            <ac:spMk id="21" creationId="{EAE2302F-1193-4B69-A284-A0197D121BB5}"/>
          </ac:spMkLst>
        </pc:spChg>
        <pc:spChg chg="del">
          <ac:chgData name="Zhu, Aaron" userId="S::aazhu@deloitte.com::79eccb59-c0f8-4541-a452-428dafa76dae" providerId="AD" clId="Web-{50460CD3-983C-704E-ECFF-FA18FABFC9BF}" dt="2024-05-30T19:54:01.015" v="239"/>
          <ac:spMkLst>
            <pc:docMk/>
            <pc:sldMk cId="1402299992" sldId="372"/>
            <ac:spMk id="32" creationId="{28E5E6AB-89E5-457B-AA56-76E9C49BB9DE}"/>
          </ac:spMkLst>
        </pc:spChg>
        <pc:spChg chg="del">
          <ac:chgData name="Zhu, Aaron" userId="S::aazhu@deloitte.com::79eccb59-c0f8-4541-a452-428dafa76dae" providerId="AD" clId="Web-{50460CD3-983C-704E-ECFF-FA18FABFC9BF}" dt="2024-05-30T19:43:58.933" v="199"/>
          <ac:spMkLst>
            <pc:docMk/>
            <pc:sldMk cId="1402299992" sldId="372"/>
            <ac:spMk id="74" creationId="{935E0C0F-B1B5-C54C-866E-5400A5D4D37B}"/>
          </ac:spMkLst>
        </pc:spChg>
        <pc:spChg chg="del">
          <ac:chgData name="Zhu, Aaron" userId="S::aazhu@deloitte.com::79eccb59-c0f8-4541-a452-428dafa76dae" providerId="AD" clId="Web-{50460CD3-983C-704E-ECFF-FA18FABFC9BF}" dt="2024-05-30T19:44:03.293" v="200"/>
          <ac:spMkLst>
            <pc:docMk/>
            <pc:sldMk cId="1402299992" sldId="372"/>
            <ac:spMk id="75" creationId="{5152061B-9472-344D-8154-5B83279C6348}"/>
          </ac:spMkLst>
        </pc:spChg>
        <pc:spChg chg="del">
          <ac:chgData name="Zhu, Aaron" userId="S::aazhu@deloitte.com::79eccb59-c0f8-4541-a452-428dafa76dae" providerId="AD" clId="Web-{50460CD3-983C-704E-ECFF-FA18FABFC9BF}" dt="2024-05-30T19:44:04.746" v="201"/>
          <ac:spMkLst>
            <pc:docMk/>
            <pc:sldMk cId="1402299992" sldId="372"/>
            <ac:spMk id="76" creationId="{54319768-573F-464A-903D-E6F6FDBF9338}"/>
          </ac:spMkLst>
        </pc:spChg>
        <pc:spChg chg="del">
          <ac:chgData name="Zhu, Aaron" userId="S::aazhu@deloitte.com::79eccb59-c0f8-4541-a452-428dafa76dae" providerId="AD" clId="Web-{50460CD3-983C-704E-ECFF-FA18FABFC9BF}" dt="2024-05-30T19:43:55.636" v="197"/>
          <ac:spMkLst>
            <pc:docMk/>
            <pc:sldMk cId="1402299992" sldId="372"/>
            <ac:spMk id="77" creationId="{B6751319-716B-DD4B-824A-44C37958B3B9}"/>
          </ac:spMkLst>
        </pc:spChg>
        <pc:spChg chg="del">
          <ac:chgData name="Zhu, Aaron" userId="S::aazhu@deloitte.com::79eccb59-c0f8-4541-a452-428dafa76dae" providerId="AD" clId="Web-{50460CD3-983C-704E-ECFF-FA18FABFC9BF}" dt="2024-05-30T19:44:06.496" v="202"/>
          <ac:spMkLst>
            <pc:docMk/>
            <pc:sldMk cId="1402299992" sldId="372"/>
            <ac:spMk id="78" creationId="{5B7A0029-8CF3-CD4F-B030-521538BC029E}"/>
          </ac:spMkLst>
        </pc:spChg>
        <pc:spChg chg="del">
          <ac:chgData name="Zhu, Aaron" userId="S::aazhu@deloitte.com::79eccb59-c0f8-4541-a452-428dafa76dae" providerId="AD" clId="Web-{50460CD3-983C-704E-ECFF-FA18FABFC9BF}" dt="2024-05-30T19:43:51.105" v="194"/>
          <ac:spMkLst>
            <pc:docMk/>
            <pc:sldMk cId="1402299992" sldId="372"/>
            <ac:spMk id="79" creationId="{93232382-B493-EB4D-AA76-66A8D300D3EE}"/>
          </ac:spMkLst>
        </pc:spChg>
        <pc:spChg chg="del">
          <ac:chgData name="Zhu, Aaron" userId="S::aazhu@deloitte.com::79eccb59-c0f8-4541-a452-428dafa76dae" providerId="AD" clId="Web-{50460CD3-983C-704E-ECFF-FA18FABFC9BF}" dt="2024-05-30T19:43:57.121" v="198"/>
          <ac:spMkLst>
            <pc:docMk/>
            <pc:sldMk cId="1402299992" sldId="372"/>
            <ac:spMk id="80" creationId="{123FE66C-0A10-0740-8152-1F0FFEF9837D}"/>
          </ac:spMkLst>
        </pc:spChg>
        <pc:spChg chg="del">
          <ac:chgData name="Zhu, Aaron" userId="S::aazhu@deloitte.com::79eccb59-c0f8-4541-a452-428dafa76dae" providerId="AD" clId="Web-{50460CD3-983C-704E-ECFF-FA18FABFC9BF}" dt="2024-05-30T19:43:54.246" v="196"/>
          <ac:spMkLst>
            <pc:docMk/>
            <pc:sldMk cId="1402299992" sldId="372"/>
            <ac:spMk id="81" creationId="{F5F176B0-7B18-BD41-8ECD-D811E4BFB0C9}"/>
          </ac:spMkLst>
        </pc:spChg>
        <pc:spChg chg="del">
          <ac:chgData name="Zhu, Aaron" userId="S::aazhu@deloitte.com::79eccb59-c0f8-4541-a452-428dafa76dae" providerId="AD" clId="Web-{50460CD3-983C-704E-ECFF-FA18FABFC9BF}" dt="2024-05-30T19:43:52.793" v="195"/>
          <ac:spMkLst>
            <pc:docMk/>
            <pc:sldMk cId="1402299992" sldId="372"/>
            <ac:spMk id="82" creationId="{0621E198-A906-AE46-A04D-7CF65FD2C3C2}"/>
          </ac:spMkLst>
        </pc:spChg>
        <pc:grpChg chg="del">
          <ac:chgData name="Zhu, Aaron" userId="S::aazhu@deloitte.com::79eccb59-c0f8-4541-a452-428dafa76dae" providerId="AD" clId="Web-{50460CD3-983C-704E-ECFF-FA18FABFC9BF}" dt="2024-05-30T19:44:04.746" v="201"/>
          <ac:grpSpMkLst>
            <pc:docMk/>
            <pc:sldMk cId="1402299992" sldId="372"/>
            <ac:grpSpMk id="72" creationId="{B735C3F3-57A2-2349-BC18-D974F991B376}"/>
          </ac:grpSpMkLst>
        </pc:grpChg>
        <pc:grpChg chg="mod">
          <ac:chgData name="Zhu, Aaron" userId="S::aazhu@deloitte.com::79eccb59-c0f8-4541-a452-428dafa76dae" providerId="AD" clId="Web-{50460CD3-983C-704E-ECFF-FA18FABFC9BF}" dt="2024-05-30T19:53:48.327" v="236" actId="1076"/>
          <ac:grpSpMkLst>
            <pc:docMk/>
            <pc:sldMk cId="1402299992" sldId="372"/>
            <ac:grpSpMk id="83" creationId="{9D0E742F-E7A5-AE4C-87DD-07D3DD533366}"/>
          </ac:grpSpMkLst>
        </pc:grpChg>
        <pc:picChg chg="add mod">
          <ac:chgData name="Zhu, Aaron" userId="S::aazhu@deloitte.com::79eccb59-c0f8-4541-a452-428dafa76dae" providerId="AD" clId="Web-{50460CD3-983C-704E-ECFF-FA18FABFC9BF}" dt="2024-05-30T19:44:21.950" v="207" actId="1076"/>
          <ac:picMkLst>
            <pc:docMk/>
            <pc:sldMk cId="1402299992" sldId="372"/>
            <ac:picMk id="6" creationId="{BCB144F5-D404-6AAD-5656-7F0EA08F5FAC}"/>
          </ac:picMkLst>
        </pc:picChg>
        <pc:picChg chg="add mod">
          <ac:chgData name="Zhu, Aaron" userId="S::aazhu@deloitte.com::79eccb59-c0f8-4541-a452-428dafa76dae" providerId="AD" clId="Web-{50460CD3-983C-704E-ECFF-FA18FABFC9BF}" dt="2024-05-30T19:52:41.325" v="216" actId="1076"/>
          <ac:picMkLst>
            <pc:docMk/>
            <pc:sldMk cId="1402299992" sldId="372"/>
            <ac:picMk id="7" creationId="{F0C7093B-B80D-DC2D-883A-53F562A6E1D4}"/>
          </ac:picMkLst>
        </pc:picChg>
        <pc:cxnChg chg="del">
          <ac:chgData name="Zhu, Aaron" userId="S::aazhu@deloitte.com::79eccb59-c0f8-4541-a452-428dafa76dae" providerId="AD" clId="Web-{50460CD3-983C-704E-ECFF-FA18FABFC9BF}" dt="2024-05-30T19:53:57.874" v="238"/>
          <ac:cxnSpMkLst>
            <pc:docMk/>
            <pc:sldMk cId="1402299992" sldId="372"/>
            <ac:cxnSpMk id="12" creationId="{41CACD0A-8945-47E5-A7F8-1B6146230038}"/>
          </ac:cxnSpMkLst>
        </pc:cxnChg>
        <pc:cxnChg chg="del">
          <ac:chgData name="Zhu, Aaron" userId="S::aazhu@deloitte.com::79eccb59-c0f8-4541-a452-428dafa76dae" providerId="AD" clId="Web-{50460CD3-983C-704E-ECFF-FA18FABFC9BF}" dt="2024-05-30T19:54:06.327" v="241"/>
          <ac:cxnSpMkLst>
            <pc:docMk/>
            <pc:sldMk cId="1402299992" sldId="372"/>
            <ac:cxnSpMk id="14" creationId="{B4E704D5-61D3-445E-9E90-25CB11E893C4}"/>
          </ac:cxnSpMkLst>
        </pc:cxnChg>
        <pc:cxnChg chg="add del">
          <ac:chgData name="Zhu, Aaron" userId="S::aazhu@deloitte.com::79eccb59-c0f8-4541-a452-428dafa76dae" providerId="AD" clId="Web-{50460CD3-983C-704E-ECFF-FA18FABFC9BF}" dt="2024-05-30T19:54:45.391" v="255"/>
          <ac:cxnSpMkLst>
            <pc:docMk/>
            <pc:sldMk cId="1402299992" sldId="372"/>
            <ac:cxnSpMk id="16" creationId="{DAF1FD5D-F3C9-44F8-8AFF-0738D0631DE7}"/>
          </ac:cxnSpMkLst>
        </pc:cxnChg>
        <pc:cxnChg chg="del">
          <ac:chgData name="Zhu, Aaron" userId="S::aazhu@deloitte.com::79eccb59-c0f8-4541-a452-428dafa76dae" providerId="AD" clId="Web-{50460CD3-983C-704E-ECFF-FA18FABFC9BF}" dt="2024-05-30T19:54:03.124" v="240"/>
          <ac:cxnSpMkLst>
            <pc:docMk/>
            <pc:sldMk cId="1402299992" sldId="372"/>
            <ac:cxnSpMk id="33" creationId="{7AA1D538-F822-4795-878C-98E0E1680C18}"/>
          </ac:cxnSpMkLst>
        </pc:cxnChg>
        <pc:cxnChg chg="del">
          <ac:chgData name="Zhu, Aaron" userId="S::aazhu@deloitte.com::79eccb59-c0f8-4541-a452-428dafa76dae" providerId="AD" clId="Web-{50460CD3-983C-704E-ECFF-FA18FABFC9BF}" dt="2024-05-30T19:54:13.750" v="243"/>
          <ac:cxnSpMkLst>
            <pc:docMk/>
            <pc:sldMk cId="1402299992" sldId="372"/>
            <ac:cxnSpMk id="35" creationId="{5860D2B4-DAA1-4D20-8892-65312A1D7CCC}"/>
          </ac:cxnSpMkLst>
        </pc:cxnChg>
        <pc:cxnChg chg="add del">
          <ac:chgData name="Zhu, Aaron" userId="S::aazhu@deloitte.com::79eccb59-c0f8-4541-a452-428dafa76dae" providerId="AD" clId="Web-{50460CD3-983C-704E-ECFF-FA18FABFC9BF}" dt="2024-05-30T19:54:36.047" v="252"/>
          <ac:cxnSpMkLst>
            <pc:docMk/>
            <pc:sldMk cId="1402299992" sldId="372"/>
            <ac:cxnSpMk id="36" creationId="{971B6700-B4F6-4EAA-B50D-DC0A6B5C5193}"/>
          </ac:cxnSpMkLst>
        </pc:cxnChg>
        <pc:cxnChg chg="add del">
          <ac:chgData name="Zhu, Aaron" userId="S::aazhu@deloitte.com::79eccb59-c0f8-4541-a452-428dafa76dae" providerId="AD" clId="Web-{50460CD3-983C-704E-ECFF-FA18FABFC9BF}" dt="2024-05-30T19:54:47.438" v="256"/>
          <ac:cxnSpMkLst>
            <pc:docMk/>
            <pc:sldMk cId="1402299992" sldId="372"/>
            <ac:cxnSpMk id="37" creationId="{F21413DF-BD2B-4362-89BF-10B23B0AB174}"/>
          </ac:cxnSpMkLst>
        </pc:cxnChg>
      </pc:sldChg>
      <pc:sldChg chg="modSp new">
        <pc:chgData name="Zhu, Aaron" userId="S::aazhu@deloitte.com::79eccb59-c0f8-4541-a452-428dafa76dae" providerId="AD" clId="Web-{50460CD3-983C-704E-ECFF-FA18FABFC9BF}" dt="2024-05-31T14:49:27.903" v="584" actId="20577"/>
        <pc:sldMkLst>
          <pc:docMk/>
          <pc:sldMk cId="4072540814" sldId="3329"/>
        </pc:sldMkLst>
        <pc:spChg chg="mod">
          <ac:chgData name="Zhu, Aaron" userId="S::aazhu@deloitte.com::79eccb59-c0f8-4541-a452-428dafa76dae" providerId="AD" clId="Web-{50460CD3-983C-704E-ECFF-FA18FABFC9BF}" dt="2024-05-31T14:49:27.903" v="584" actId="20577"/>
          <ac:spMkLst>
            <pc:docMk/>
            <pc:sldMk cId="4072540814" sldId="3329"/>
            <ac:spMk id="2" creationId="{21193B70-1A0C-12A8-F7BC-5CCFE6F42C8E}"/>
          </ac:spMkLst>
        </pc:spChg>
      </pc:sldChg>
    </pc:docChg>
  </pc:docChgLst>
  <pc:docChgLst>
    <pc:chgData name="Alvarado Menendez, Leonardo" userId="S::lalvaradomenendez@deloitte.com::905d9c53-4bde-43eb-84a8-1d1744a10674" providerId="AD" clId="Web-{CDFCB11F-07AA-4BBF-BFD3-E4F4FC9BDE26}"/>
    <pc:docChg chg="modSld">
      <pc:chgData name="Alvarado Menendez, Leonardo" userId="S::lalvaradomenendez@deloitte.com::905d9c53-4bde-43eb-84a8-1d1744a10674" providerId="AD" clId="Web-{CDFCB11F-07AA-4BBF-BFD3-E4F4FC9BDE26}" dt="2024-05-31T15:18:43.500" v="389"/>
      <pc:docMkLst>
        <pc:docMk/>
      </pc:docMkLst>
      <pc:sldChg chg="modSp">
        <pc:chgData name="Alvarado Menendez, Leonardo" userId="S::lalvaradomenendez@deloitte.com::905d9c53-4bde-43eb-84a8-1d1744a10674" providerId="AD" clId="Web-{CDFCB11F-07AA-4BBF-BFD3-E4F4FC9BDE26}" dt="2024-05-31T15:14:13.397" v="385" actId="20577"/>
        <pc:sldMkLst>
          <pc:docMk/>
          <pc:sldMk cId="1224480256" sldId="334"/>
        </pc:sldMkLst>
        <pc:spChg chg="mod">
          <ac:chgData name="Alvarado Menendez, Leonardo" userId="S::lalvaradomenendez@deloitte.com::905d9c53-4bde-43eb-84a8-1d1744a10674" providerId="AD" clId="Web-{CDFCB11F-07AA-4BBF-BFD3-E4F4FC9BDE26}" dt="2024-05-31T15:03:00.982" v="79" actId="20577"/>
          <ac:spMkLst>
            <pc:docMk/>
            <pc:sldMk cId="1224480256" sldId="334"/>
            <ac:spMk id="6" creationId="{F3CC1E21-C752-48A9-89F0-A8993097EE13}"/>
          </ac:spMkLst>
        </pc:spChg>
        <pc:spChg chg="mod">
          <ac:chgData name="Alvarado Menendez, Leonardo" userId="S::lalvaradomenendez@deloitte.com::905d9c53-4bde-43eb-84a8-1d1744a10674" providerId="AD" clId="Web-{CDFCB11F-07AA-4BBF-BFD3-E4F4FC9BDE26}" dt="2024-05-31T15:05:25.659" v="163" actId="20577"/>
          <ac:spMkLst>
            <pc:docMk/>
            <pc:sldMk cId="1224480256" sldId="334"/>
            <ac:spMk id="10" creationId="{BFB83E42-5D4E-4566-B887-1553F705FE73}"/>
          </ac:spMkLst>
        </pc:spChg>
        <pc:spChg chg="mod">
          <ac:chgData name="Alvarado Menendez, Leonardo" userId="S::lalvaradomenendez@deloitte.com::905d9c53-4bde-43eb-84a8-1d1744a10674" providerId="AD" clId="Web-{CDFCB11F-07AA-4BBF-BFD3-E4F4FC9BDE26}" dt="2024-05-31T15:14:13.397" v="385" actId="20577"/>
          <ac:spMkLst>
            <pc:docMk/>
            <pc:sldMk cId="1224480256" sldId="334"/>
            <ac:spMk id="14" creationId="{935FF258-720F-4D65-A652-9DD7D733F544}"/>
          </ac:spMkLst>
        </pc:spChg>
        <pc:spChg chg="mod">
          <ac:chgData name="Alvarado Menendez, Leonardo" userId="S::lalvaradomenendez@deloitte.com::905d9c53-4bde-43eb-84a8-1d1744a10674" providerId="AD" clId="Web-{CDFCB11F-07AA-4BBF-BFD3-E4F4FC9BDE26}" dt="2024-05-31T15:09:57.450" v="267" actId="20577"/>
          <ac:spMkLst>
            <pc:docMk/>
            <pc:sldMk cId="1224480256" sldId="334"/>
            <ac:spMk id="23" creationId="{4DC7B1B1-D2BC-4F1D-A798-9C6C9654C1D6}"/>
          </ac:spMkLst>
        </pc:spChg>
        <pc:spChg chg="mod">
          <ac:chgData name="Alvarado Menendez, Leonardo" userId="S::lalvaradomenendez@deloitte.com::905d9c53-4bde-43eb-84a8-1d1744a10674" providerId="AD" clId="Web-{CDFCB11F-07AA-4BBF-BFD3-E4F4FC9BDE26}" dt="2024-05-31T15:13:10.098" v="320" actId="20577"/>
          <ac:spMkLst>
            <pc:docMk/>
            <pc:sldMk cId="1224480256" sldId="334"/>
            <ac:spMk id="29" creationId="{50A8E7A7-9F8A-4245-A1D8-821AB0DD9666}"/>
          </ac:spMkLst>
        </pc:spChg>
      </pc:sldChg>
      <pc:sldChg chg="modSp">
        <pc:chgData name="Alvarado Menendez, Leonardo" userId="S::lalvaradomenendez@deloitte.com::905d9c53-4bde-43eb-84a8-1d1744a10674" providerId="AD" clId="Web-{CDFCB11F-07AA-4BBF-BFD3-E4F4FC9BDE26}" dt="2024-05-31T15:18:43.500" v="389"/>
        <pc:sldMkLst>
          <pc:docMk/>
          <pc:sldMk cId="3743183705" sldId="337"/>
        </pc:sldMkLst>
        <pc:spChg chg="mod">
          <ac:chgData name="Alvarado Menendez, Leonardo" userId="S::lalvaradomenendez@deloitte.com::905d9c53-4bde-43eb-84a8-1d1744a10674" providerId="AD" clId="Web-{CDFCB11F-07AA-4BBF-BFD3-E4F4FC9BDE26}" dt="2024-05-31T15:18:23.578" v="386" actId="1076"/>
          <ac:spMkLst>
            <pc:docMk/>
            <pc:sldMk cId="3743183705" sldId="337"/>
            <ac:spMk id="20" creationId="{C736BB3F-7FAB-42BC-B819-EDE8A23CCB52}"/>
          </ac:spMkLst>
        </pc:spChg>
        <pc:graphicFrameChg chg="modGraphic">
          <ac:chgData name="Alvarado Menendez, Leonardo" userId="S::lalvaradomenendez@deloitte.com::905d9c53-4bde-43eb-84a8-1d1744a10674" providerId="AD" clId="Web-{CDFCB11F-07AA-4BBF-BFD3-E4F4FC9BDE26}" dt="2024-05-31T15:18:43.500" v="389"/>
          <ac:graphicFrameMkLst>
            <pc:docMk/>
            <pc:sldMk cId="3743183705" sldId="337"/>
            <ac:graphicFrameMk id="67" creationId="{4AF1B351-CF6C-F92F-54B2-BA0A3FA6393D}"/>
          </ac:graphicFrameMkLst>
        </pc:graphicFrameChg>
        <pc:cxnChg chg="mod">
          <ac:chgData name="Alvarado Menendez, Leonardo" userId="S::lalvaradomenendez@deloitte.com::905d9c53-4bde-43eb-84a8-1d1744a10674" providerId="AD" clId="Web-{CDFCB11F-07AA-4BBF-BFD3-E4F4FC9BDE26}" dt="2024-05-31T15:18:23.593" v="387" actId="1076"/>
          <ac:cxnSpMkLst>
            <pc:docMk/>
            <pc:sldMk cId="3743183705" sldId="337"/>
            <ac:cxnSpMk id="22" creationId="{DB0AC9D8-80BA-4FFE-9AD2-CD92A2CBC95F}"/>
          </ac:cxnSpMkLst>
        </pc:cxnChg>
      </pc:sldChg>
      <pc:sldChg chg="modSp">
        <pc:chgData name="Alvarado Menendez, Leonardo" userId="S::lalvaradomenendez@deloitte.com::905d9c53-4bde-43eb-84a8-1d1744a10674" providerId="AD" clId="Web-{CDFCB11F-07AA-4BBF-BFD3-E4F4FC9BDE26}" dt="2024-05-31T14:58:56.208" v="2" actId="20577"/>
        <pc:sldMkLst>
          <pc:docMk/>
          <pc:sldMk cId="1553775843" sldId="3328"/>
        </pc:sldMkLst>
        <pc:graphicFrameChg chg="modGraphic">
          <ac:chgData name="Alvarado Menendez, Leonardo" userId="S::lalvaradomenendez@deloitte.com::905d9c53-4bde-43eb-84a8-1d1744a10674" providerId="AD" clId="Web-{CDFCB11F-07AA-4BBF-BFD3-E4F4FC9BDE26}" dt="2024-05-31T14:58:56.208" v="2" actId="20577"/>
          <ac:graphicFrameMkLst>
            <pc:docMk/>
            <pc:sldMk cId="1553775843" sldId="3328"/>
            <ac:graphicFrameMk id="6" creationId="{0153F0DB-EF2D-63B4-0ADD-9AAAD8CE7B83}"/>
          </ac:graphicFrameMkLst>
        </pc:graphicFrameChg>
      </pc:sldChg>
    </pc:docChg>
  </pc:docChgLst>
  <pc:docChgLst>
    <pc:chgData name="Zhu, Aaron" userId="S::aazhu@deloitte.com::79eccb59-c0f8-4541-a452-428dafa76dae" providerId="AD" clId="Web-{BDCCEDB2-B6F4-05A3-85BC-F1BF8F124789}"/>
    <pc:docChg chg="modSld">
      <pc:chgData name="Zhu, Aaron" userId="S::aazhu@deloitte.com::79eccb59-c0f8-4541-a452-428dafa76dae" providerId="AD" clId="Web-{BDCCEDB2-B6F4-05A3-85BC-F1BF8F124789}" dt="2024-05-31T19:04:02.302" v="207"/>
      <pc:docMkLst>
        <pc:docMk/>
      </pc:docMkLst>
      <pc:sldChg chg="modSp">
        <pc:chgData name="Zhu, Aaron" userId="S::aazhu@deloitte.com::79eccb59-c0f8-4541-a452-428dafa76dae" providerId="AD" clId="Web-{BDCCEDB2-B6F4-05A3-85BC-F1BF8F124789}" dt="2024-05-31T16:17:38.610" v="145" actId="1076"/>
        <pc:sldMkLst>
          <pc:docMk/>
          <pc:sldMk cId="224413862" sldId="259"/>
        </pc:sldMkLst>
        <pc:spChg chg="mod">
          <ac:chgData name="Zhu, Aaron" userId="S::aazhu@deloitte.com::79eccb59-c0f8-4541-a452-428dafa76dae" providerId="AD" clId="Web-{BDCCEDB2-B6F4-05A3-85BC-F1BF8F124789}" dt="2024-05-31T16:17:38.610" v="145" actId="1076"/>
          <ac:spMkLst>
            <pc:docMk/>
            <pc:sldMk cId="224413862" sldId="259"/>
            <ac:spMk id="20" creationId="{02998329-293A-1918-2D05-53B36B9BA2D1}"/>
          </ac:spMkLst>
        </pc:spChg>
      </pc:sldChg>
      <pc:sldChg chg="modSp addCm">
        <pc:chgData name="Zhu, Aaron" userId="S::aazhu@deloitte.com::79eccb59-c0f8-4541-a452-428dafa76dae" providerId="AD" clId="Web-{BDCCEDB2-B6F4-05A3-85BC-F1BF8F124789}" dt="2024-05-31T18:51:02.899" v="203"/>
        <pc:sldMkLst>
          <pc:docMk/>
          <pc:sldMk cId="866457816" sldId="324"/>
        </pc:sldMkLst>
        <pc:spChg chg="mod">
          <ac:chgData name="Zhu, Aaron" userId="S::aazhu@deloitte.com::79eccb59-c0f8-4541-a452-428dafa76dae" providerId="AD" clId="Web-{BDCCEDB2-B6F4-05A3-85BC-F1BF8F124789}" dt="2024-05-31T16:16:51.015" v="137" actId="20577"/>
          <ac:spMkLst>
            <pc:docMk/>
            <pc:sldMk cId="866457816" sldId="324"/>
            <ac:spMk id="12" creationId="{903528D7-4EE1-2149-A7DB-BD4E1DDA26B5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hu, Aaron" userId="S::aazhu@deloitte.com::79eccb59-c0f8-4541-a452-428dafa76dae" providerId="AD" clId="Web-{BDCCEDB2-B6F4-05A3-85BC-F1BF8F124789}" dt="2024-05-31T18:51:02.899" v="203"/>
              <pc2:cmMkLst xmlns:pc2="http://schemas.microsoft.com/office/powerpoint/2019/9/main/command">
                <pc:docMk/>
                <pc:sldMk cId="866457816" sldId="324"/>
                <pc2:cmMk id="{F8B3E323-3D14-46BD-BDCF-83D76986A2FE}"/>
              </pc2:cmMkLst>
            </pc226:cmChg>
          </p:ext>
        </pc:extLst>
      </pc:sldChg>
      <pc:sldChg chg="modSp addCm">
        <pc:chgData name="Zhu, Aaron" userId="S::aazhu@deloitte.com::79eccb59-c0f8-4541-a452-428dafa76dae" providerId="AD" clId="Web-{BDCCEDB2-B6F4-05A3-85BC-F1BF8F124789}" dt="2024-05-31T18:52:14.011" v="204"/>
        <pc:sldMkLst>
          <pc:docMk/>
          <pc:sldMk cId="2058249102" sldId="333"/>
        </pc:sldMkLst>
        <pc:spChg chg="mod">
          <ac:chgData name="Zhu, Aaron" userId="S::aazhu@deloitte.com::79eccb59-c0f8-4541-a452-428dafa76dae" providerId="AD" clId="Web-{BDCCEDB2-B6F4-05A3-85BC-F1BF8F124789}" dt="2024-05-31T16:17:13.157" v="140" actId="1076"/>
          <ac:spMkLst>
            <pc:docMk/>
            <pc:sldMk cId="2058249102" sldId="333"/>
            <ac:spMk id="2" creationId="{B7BF1883-95FE-1B40-8C2F-8226B5B47C95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hu, Aaron" userId="S::aazhu@deloitte.com::79eccb59-c0f8-4541-a452-428dafa76dae" providerId="AD" clId="Web-{BDCCEDB2-B6F4-05A3-85BC-F1BF8F124789}" dt="2024-05-31T18:52:14.011" v="204"/>
              <pc2:cmMkLst xmlns:pc2="http://schemas.microsoft.com/office/powerpoint/2019/9/main/command">
                <pc:docMk/>
                <pc:sldMk cId="2058249102" sldId="333"/>
                <pc2:cmMk id="{CCA5017F-6F24-4151-8A28-AFC4D536B151}"/>
              </pc2:cmMkLst>
            </pc226:cmChg>
          </p:ext>
        </pc:extLst>
      </pc:sldChg>
      <pc:sldChg chg="delSp modSp">
        <pc:chgData name="Zhu, Aaron" userId="S::aazhu@deloitte.com::79eccb59-c0f8-4541-a452-428dafa76dae" providerId="AD" clId="Web-{BDCCEDB2-B6F4-05A3-85BC-F1BF8F124789}" dt="2024-05-31T16:18:50.018" v="160" actId="1076"/>
        <pc:sldMkLst>
          <pc:docMk/>
          <pc:sldMk cId="1224480256" sldId="334"/>
        </pc:sldMkLst>
        <pc:spChg chg="del">
          <ac:chgData name="Zhu, Aaron" userId="S::aazhu@deloitte.com::79eccb59-c0f8-4541-a452-428dafa76dae" providerId="AD" clId="Web-{BDCCEDB2-B6F4-05A3-85BC-F1BF8F124789}" dt="2024-05-31T16:18:44.752" v="158"/>
          <ac:spMkLst>
            <pc:docMk/>
            <pc:sldMk cId="1224480256" sldId="334"/>
            <ac:spMk id="5" creationId="{C50668CF-1DB7-4CC7-AA20-607BC1CC3798}"/>
          </ac:spMkLst>
        </pc:spChg>
        <pc:spChg chg="mod">
          <ac:chgData name="Zhu, Aaron" userId="S::aazhu@deloitte.com::79eccb59-c0f8-4541-a452-428dafa76dae" providerId="AD" clId="Web-{BDCCEDB2-B6F4-05A3-85BC-F1BF8F124789}" dt="2024-05-31T16:18:47.612" v="159" actId="1076"/>
          <ac:spMkLst>
            <pc:docMk/>
            <pc:sldMk cId="1224480256" sldId="334"/>
            <ac:spMk id="48" creationId="{ECD0EF2F-CCC5-4EBC-9435-DB8EFE61842B}"/>
          </ac:spMkLst>
        </pc:spChg>
        <pc:spChg chg="mod">
          <ac:chgData name="Zhu, Aaron" userId="S::aazhu@deloitte.com::79eccb59-c0f8-4541-a452-428dafa76dae" providerId="AD" clId="Web-{BDCCEDB2-B6F4-05A3-85BC-F1BF8F124789}" dt="2024-05-31T16:18:50.018" v="160" actId="1076"/>
          <ac:spMkLst>
            <pc:docMk/>
            <pc:sldMk cId="1224480256" sldId="334"/>
            <ac:spMk id="49" creationId="{3234BAF0-6512-4439-91C6-35DC95FB69FF}"/>
          </ac:spMkLst>
        </pc:spChg>
      </pc:sldChg>
      <pc:sldChg chg="modSp">
        <pc:chgData name="Zhu, Aaron" userId="S::aazhu@deloitte.com::79eccb59-c0f8-4541-a452-428dafa76dae" providerId="AD" clId="Web-{BDCCEDB2-B6F4-05A3-85BC-F1BF8F124789}" dt="2024-05-31T16:17:52.142" v="147" actId="20577"/>
        <pc:sldMkLst>
          <pc:docMk/>
          <pc:sldMk cId="3743183705" sldId="337"/>
        </pc:sldMkLst>
        <pc:spChg chg="mod">
          <ac:chgData name="Zhu, Aaron" userId="S::aazhu@deloitte.com::79eccb59-c0f8-4541-a452-428dafa76dae" providerId="AD" clId="Web-{BDCCEDB2-B6F4-05A3-85BC-F1BF8F124789}" dt="2024-05-31T16:17:52.142" v="147" actId="20577"/>
          <ac:spMkLst>
            <pc:docMk/>
            <pc:sldMk cId="3743183705" sldId="337"/>
            <ac:spMk id="2" creationId="{DB9C6C3C-DC16-46FA-9E48-A7B015DA9E1A}"/>
          </ac:spMkLst>
        </pc:spChg>
      </pc:sldChg>
      <pc:sldChg chg="modSp addCm">
        <pc:chgData name="Zhu, Aaron" userId="S::aazhu@deloitte.com::79eccb59-c0f8-4541-a452-428dafa76dae" providerId="AD" clId="Web-{BDCCEDB2-B6F4-05A3-85BC-F1BF8F124789}" dt="2024-05-31T18:53:57.421" v="205"/>
        <pc:sldMkLst>
          <pc:docMk/>
          <pc:sldMk cId="3633960545" sldId="340"/>
        </pc:sldMkLst>
        <pc:spChg chg="mod">
          <ac:chgData name="Zhu, Aaron" userId="S::aazhu@deloitte.com::79eccb59-c0f8-4541-a452-428dafa76dae" providerId="AD" clId="Web-{BDCCEDB2-B6F4-05A3-85BC-F1BF8F124789}" dt="2024-05-31T16:17:21.110" v="142" actId="20577"/>
          <ac:spMkLst>
            <pc:docMk/>
            <pc:sldMk cId="3633960545" sldId="340"/>
            <ac:spMk id="10" creationId="{5AD92582-EB0E-493F-84F5-42312920466F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hu, Aaron" userId="S::aazhu@deloitte.com::79eccb59-c0f8-4541-a452-428dafa76dae" providerId="AD" clId="Web-{BDCCEDB2-B6F4-05A3-85BC-F1BF8F124789}" dt="2024-05-31T18:53:57.421" v="205"/>
              <pc2:cmMkLst xmlns:pc2="http://schemas.microsoft.com/office/powerpoint/2019/9/main/command">
                <pc:docMk/>
                <pc:sldMk cId="3633960545" sldId="340"/>
                <pc2:cmMk id="{30D6AC25-FA22-405A-91E5-56806C3A4844}"/>
              </pc2:cmMkLst>
            </pc226:cmChg>
          </p:ext>
        </pc:extLst>
      </pc:sldChg>
      <pc:sldChg chg="addSp modSp addCm delCm">
        <pc:chgData name="Zhu, Aaron" userId="S::aazhu@deloitte.com::79eccb59-c0f8-4541-a452-428dafa76dae" providerId="AD" clId="Web-{BDCCEDB2-B6F4-05A3-85BC-F1BF8F124789}" dt="2024-05-31T19:02:08.235" v="206"/>
        <pc:sldMkLst>
          <pc:docMk/>
          <pc:sldMk cId="1402299992" sldId="372"/>
        </pc:sldMkLst>
        <pc:spChg chg="mod">
          <ac:chgData name="Zhu, Aaron" userId="S::aazhu@deloitte.com::79eccb59-c0f8-4541-a452-428dafa76dae" providerId="AD" clId="Web-{BDCCEDB2-B6F4-05A3-85BC-F1BF8F124789}" dt="2024-05-31T15:54:46.064" v="118" actId="1076"/>
          <ac:spMkLst>
            <pc:docMk/>
            <pc:sldMk cId="1402299992" sldId="372"/>
            <ac:spMk id="9" creationId="{6F8D91C7-9386-7442-ED5E-818A40C43BA0}"/>
          </ac:spMkLst>
        </pc:spChg>
        <pc:spChg chg="mod">
          <ac:chgData name="Zhu, Aaron" userId="S::aazhu@deloitte.com::79eccb59-c0f8-4541-a452-428dafa76dae" providerId="AD" clId="Web-{BDCCEDB2-B6F4-05A3-85BC-F1BF8F124789}" dt="2024-05-31T15:55:08.237" v="135" actId="20577"/>
          <ac:spMkLst>
            <pc:docMk/>
            <pc:sldMk cId="1402299992" sldId="372"/>
            <ac:spMk id="18" creationId="{85E2B64A-5BD8-4CDF-A648-40F92CCB8A51}"/>
          </ac:spMkLst>
        </pc:spChg>
        <pc:spChg chg="mod">
          <ac:chgData name="Zhu, Aaron" userId="S::aazhu@deloitte.com::79eccb59-c0f8-4541-a452-428dafa76dae" providerId="AD" clId="Web-{BDCCEDB2-B6F4-05A3-85BC-F1BF8F124789}" dt="2024-05-31T15:54:21.392" v="114" actId="1076"/>
          <ac:spMkLst>
            <pc:docMk/>
            <pc:sldMk cId="1402299992" sldId="372"/>
            <ac:spMk id="20" creationId="{D95B1F3D-19C6-494F-AEBB-8274FF1FFE5C}"/>
          </ac:spMkLst>
        </pc:spChg>
        <pc:grpChg chg="mod">
          <ac:chgData name="Zhu, Aaron" userId="S::aazhu@deloitte.com::79eccb59-c0f8-4541-a452-428dafa76dae" providerId="AD" clId="Web-{BDCCEDB2-B6F4-05A3-85BC-F1BF8F124789}" dt="2024-05-31T15:52:47.593" v="83" actId="1076"/>
          <ac:grpSpMkLst>
            <pc:docMk/>
            <pc:sldMk cId="1402299992" sldId="372"/>
            <ac:grpSpMk id="83" creationId="{9D0E742F-E7A5-AE4C-87DD-07D3DD533366}"/>
          </ac:grpSpMkLst>
        </pc:grpChg>
        <pc:picChg chg="mod">
          <ac:chgData name="Zhu, Aaron" userId="S::aazhu@deloitte.com::79eccb59-c0f8-4541-a452-428dafa76dae" providerId="AD" clId="Web-{BDCCEDB2-B6F4-05A3-85BC-F1BF8F124789}" dt="2024-05-31T15:54:41.767" v="116" actId="1076"/>
          <ac:picMkLst>
            <pc:docMk/>
            <pc:sldMk cId="1402299992" sldId="372"/>
            <ac:picMk id="7" creationId="{F0C7093B-B80D-DC2D-883A-53F562A6E1D4}"/>
          </ac:picMkLst>
        </pc:picChg>
        <pc:picChg chg="add mod">
          <ac:chgData name="Zhu, Aaron" userId="S::aazhu@deloitte.com::79eccb59-c0f8-4541-a452-428dafa76dae" providerId="AD" clId="Web-{BDCCEDB2-B6F4-05A3-85BC-F1BF8F124789}" dt="2024-05-31T15:54:36.392" v="115" actId="1076"/>
          <ac:picMkLst>
            <pc:docMk/>
            <pc:sldMk cId="1402299992" sldId="372"/>
            <ac:picMk id="11" creationId="{0AE4BD8F-CE5D-A93C-DB63-5D83CECB6802}"/>
          </ac:picMkLst>
        </pc:picChg>
        <pc:cxnChg chg="mod">
          <ac:chgData name="Zhu, Aaron" userId="S::aazhu@deloitte.com::79eccb59-c0f8-4541-a452-428dafa76dae" providerId="AD" clId="Web-{BDCCEDB2-B6F4-05A3-85BC-F1BF8F124789}" dt="2024-05-31T15:48:02.259" v="3" actId="1076"/>
          <ac:cxnSpMkLst>
            <pc:docMk/>
            <pc:sldMk cId="1402299992" sldId="372"/>
            <ac:cxnSpMk id="15" creationId="{237675EC-0B8E-448D-983B-30791DC52CBE}"/>
          </ac:cxnSpMkLst>
        </pc:cxnChg>
        <pc:cxnChg chg="mod">
          <ac:chgData name="Zhu, Aaron" userId="S::aazhu@deloitte.com::79eccb59-c0f8-4541-a452-428dafa76dae" providerId="AD" clId="Web-{BDCCEDB2-B6F4-05A3-85BC-F1BF8F124789}" dt="2024-05-31T15:48:12.806" v="4" actId="1076"/>
          <ac:cxnSpMkLst>
            <pc:docMk/>
            <pc:sldMk cId="1402299992" sldId="372"/>
            <ac:cxnSpMk id="36" creationId="{971B6700-B4F6-4EAA-B50D-DC0A6B5C5193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hu, Aaron" userId="S::aazhu@deloitte.com::79eccb59-c0f8-4541-a452-428dafa76dae" providerId="AD" clId="Web-{BDCCEDB2-B6F4-05A3-85BC-F1BF8F124789}" dt="2024-05-31T19:02:08.235" v="206"/>
              <pc2:cmMkLst xmlns:pc2="http://schemas.microsoft.com/office/powerpoint/2019/9/main/command">
                <pc:docMk/>
                <pc:sldMk cId="1402299992" sldId="372"/>
                <pc2:cmMk id="{3D8EFD13-7985-4CC8-8EBA-7E97D057515C}"/>
              </pc2:cmMkLst>
            </pc226:cmChg>
            <pc226:cmChg xmlns:pc226="http://schemas.microsoft.com/office/powerpoint/2022/06/main/command" chg="del">
              <pc226:chgData name="Zhu, Aaron" userId="S::aazhu@deloitte.com::79eccb59-c0f8-4541-a452-428dafa76dae" providerId="AD" clId="Web-{BDCCEDB2-B6F4-05A3-85BC-F1BF8F124789}" dt="2024-05-31T15:55:20.268" v="136"/>
              <pc2:cmMkLst xmlns:pc2="http://schemas.microsoft.com/office/powerpoint/2019/9/main/command">
                <pc:docMk/>
                <pc:sldMk cId="1402299992" sldId="372"/>
                <pc2:cmMk id="{049D5BDF-2B98-4FDC-8FB2-FEE8014FC8DA}"/>
              </pc2:cmMkLst>
            </pc226:cmChg>
          </p:ext>
        </pc:extLst>
      </pc:sldChg>
      <pc:sldChg chg="delCm">
        <pc:chgData name="Zhu, Aaron" userId="S::aazhu@deloitte.com::79eccb59-c0f8-4541-a452-428dafa76dae" providerId="AD" clId="Web-{BDCCEDB2-B6F4-05A3-85BC-F1BF8F124789}" dt="2024-05-31T17:35:34.471" v="202"/>
        <pc:sldMkLst>
          <pc:docMk/>
          <pc:sldMk cId="240753442" sldId="332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Zhu, Aaron" userId="S::aazhu@deloitte.com::79eccb59-c0f8-4541-a452-428dafa76dae" providerId="AD" clId="Web-{BDCCEDB2-B6F4-05A3-85BC-F1BF8F124789}" dt="2024-05-31T17:35:34.471" v="202"/>
              <pc2:cmMkLst xmlns:pc2="http://schemas.microsoft.com/office/powerpoint/2019/9/main/command">
                <pc:docMk/>
                <pc:sldMk cId="240753442" sldId="3326"/>
                <pc2:cmMk id="{1E960015-65C4-40CF-8DC5-216980753D4D}"/>
              </pc2:cmMkLst>
            </pc226:cmChg>
          </p:ext>
        </pc:extLst>
      </pc:sldChg>
      <pc:sldChg chg="modSp">
        <pc:chgData name="Zhu, Aaron" userId="S::aazhu@deloitte.com::79eccb59-c0f8-4541-a452-428dafa76dae" providerId="AD" clId="Web-{BDCCEDB2-B6F4-05A3-85BC-F1BF8F124789}" dt="2024-05-31T16:21:16.818" v="201" actId="20577"/>
        <pc:sldMkLst>
          <pc:docMk/>
          <pc:sldMk cId="2196993996" sldId="3327"/>
        </pc:sldMkLst>
        <pc:spChg chg="mod">
          <ac:chgData name="Zhu, Aaron" userId="S::aazhu@deloitte.com::79eccb59-c0f8-4541-a452-428dafa76dae" providerId="AD" clId="Web-{BDCCEDB2-B6F4-05A3-85BC-F1BF8F124789}" dt="2024-05-31T16:21:16.818" v="201" actId="20577"/>
          <ac:spMkLst>
            <pc:docMk/>
            <pc:sldMk cId="2196993996" sldId="3327"/>
            <ac:spMk id="2" creationId="{23BCC8FA-F6E6-5932-7C5D-E2CB9557D11A}"/>
          </ac:spMkLst>
        </pc:spChg>
      </pc:sldChg>
      <pc:sldChg chg="modSp">
        <pc:chgData name="Zhu, Aaron" userId="S::aazhu@deloitte.com::79eccb59-c0f8-4541-a452-428dafa76dae" providerId="AD" clId="Web-{BDCCEDB2-B6F4-05A3-85BC-F1BF8F124789}" dt="2024-05-31T16:17:59.986" v="149" actId="20577"/>
        <pc:sldMkLst>
          <pc:docMk/>
          <pc:sldMk cId="2854881241" sldId="3330"/>
        </pc:sldMkLst>
        <pc:spChg chg="mod">
          <ac:chgData name="Zhu, Aaron" userId="S::aazhu@deloitte.com::79eccb59-c0f8-4541-a452-428dafa76dae" providerId="AD" clId="Web-{BDCCEDB2-B6F4-05A3-85BC-F1BF8F124789}" dt="2024-05-31T16:17:59.986" v="149" actId="20577"/>
          <ac:spMkLst>
            <pc:docMk/>
            <pc:sldMk cId="2854881241" sldId="3330"/>
            <ac:spMk id="2" creationId="{DB9C6C3C-DC16-46FA-9E48-A7B015DA9E1A}"/>
          </ac:spMkLst>
        </pc:spChg>
      </pc:sldChg>
      <pc:sldChg chg="modSp">
        <pc:chgData name="Zhu, Aaron" userId="S::aazhu@deloitte.com::79eccb59-c0f8-4541-a452-428dafa76dae" providerId="AD" clId="Web-{BDCCEDB2-B6F4-05A3-85BC-F1BF8F124789}" dt="2024-05-31T16:18:09.486" v="151" actId="20577"/>
        <pc:sldMkLst>
          <pc:docMk/>
          <pc:sldMk cId="1613324825" sldId="3331"/>
        </pc:sldMkLst>
        <pc:spChg chg="mod">
          <ac:chgData name="Zhu, Aaron" userId="S::aazhu@deloitte.com::79eccb59-c0f8-4541-a452-428dafa76dae" providerId="AD" clId="Web-{BDCCEDB2-B6F4-05A3-85BC-F1BF8F124789}" dt="2024-05-31T16:18:09.486" v="151" actId="20577"/>
          <ac:spMkLst>
            <pc:docMk/>
            <pc:sldMk cId="1613324825" sldId="3331"/>
            <ac:spMk id="2" creationId="{DB9C6C3C-DC16-46FA-9E48-A7B015DA9E1A}"/>
          </ac:spMkLst>
        </pc:spChg>
      </pc:sldChg>
      <pc:sldChg chg="modSp addCm">
        <pc:chgData name="Zhu, Aaron" userId="S::aazhu@deloitte.com::79eccb59-c0f8-4541-a452-428dafa76dae" providerId="AD" clId="Web-{BDCCEDB2-B6F4-05A3-85BC-F1BF8F124789}" dt="2024-05-31T19:04:02.302" v="207"/>
        <pc:sldMkLst>
          <pc:docMk/>
          <pc:sldMk cId="1760481120" sldId="3332"/>
        </pc:sldMkLst>
        <pc:spChg chg="mod">
          <ac:chgData name="Zhu, Aaron" userId="S::aazhu@deloitte.com::79eccb59-c0f8-4541-a452-428dafa76dae" providerId="AD" clId="Web-{BDCCEDB2-B6F4-05A3-85BC-F1BF8F124789}" dt="2024-05-31T16:18:37.408" v="157" actId="1076"/>
          <ac:spMkLst>
            <pc:docMk/>
            <pc:sldMk cId="1760481120" sldId="3332"/>
            <ac:spMk id="2" creationId="{A80E855C-0644-3F98-FFDF-AB1AF4DE1D5C}"/>
          </ac:spMkLst>
        </pc:spChg>
        <pc:spChg chg="mod">
          <ac:chgData name="Zhu, Aaron" userId="S::aazhu@deloitte.com::79eccb59-c0f8-4541-a452-428dafa76dae" providerId="AD" clId="Web-{BDCCEDB2-B6F4-05A3-85BC-F1BF8F124789}" dt="2024-05-31T16:19:23.629" v="178" actId="20577"/>
          <ac:spMkLst>
            <pc:docMk/>
            <pc:sldMk cId="1760481120" sldId="3332"/>
            <ac:spMk id="3" creationId="{7240452E-6FC5-19D1-CE2A-2FA9C065647D}"/>
          </ac:spMkLst>
        </pc:spChg>
        <pc:spChg chg="mod">
          <ac:chgData name="Zhu, Aaron" userId="S::aazhu@deloitte.com::79eccb59-c0f8-4541-a452-428dafa76dae" providerId="AD" clId="Web-{BDCCEDB2-B6F4-05A3-85BC-F1BF8F124789}" dt="2024-05-31T16:21:00.709" v="199" actId="20577"/>
          <ac:spMkLst>
            <pc:docMk/>
            <pc:sldMk cId="1760481120" sldId="3332"/>
            <ac:spMk id="7" creationId="{7BA2C5B1-581E-9306-B493-E1748F245E09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Zhu, Aaron" userId="S::aazhu@deloitte.com::79eccb59-c0f8-4541-a452-428dafa76dae" providerId="AD" clId="Web-{BDCCEDB2-B6F4-05A3-85BC-F1BF8F124789}" dt="2024-05-31T19:04:02.302" v="207"/>
              <pc2:cmMkLst xmlns:pc2="http://schemas.microsoft.com/office/powerpoint/2019/9/main/command">
                <pc:docMk/>
                <pc:sldMk cId="1760481120" sldId="3332"/>
                <pc2:cmMk id="{2D2F9543-85A5-4FF5-B4D1-0984DF412BAB}"/>
              </pc2:cmMkLst>
            </pc226:cmChg>
          </p:ext>
        </pc:extLst>
      </pc:sldChg>
    </pc:docChg>
  </pc:docChgLst>
  <pc:docChgLst>
    <pc:chgData name="Rice, Daniel I" userId="S::drice@deloitte.com::98c2cb33-0d7c-489d-a193-7e1234fa5e89" providerId="AD" clId="Web-{101B6242-2A57-4AB3-5CC1-AFF7DC47779B}"/>
    <pc:docChg chg="addSld delSld modSld sldOrd">
      <pc:chgData name="Rice, Daniel I" userId="S::drice@deloitte.com::98c2cb33-0d7c-489d-a193-7e1234fa5e89" providerId="AD" clId="Web-{101B6242-2A57-4AB3-5CC1-AFF7DC47779B}" dt="2024-05-30T16:49:17.825" v="805"/>
      <pc:docMkLst>
        <pc:docMk/>
      </pc:docMkLst>
      <pc:sldChg chg="modSp">
        <pc:chgData name="Rice, Daniel I" userId="S::drice@deloitte.com::98c2cb33-0d7c-489d-a193-7e1234fa5e89" providerId="AD" clId="Web-{101B6242-2A57-4AB3-5CC1-AFF7DC47779B}" dt="2024-05-30T14:18:17.414" v="74" actId="1076"/>
        <pc:sldMkLst>
          <pc:docMk/>
          <pc:sldMk cId="2614706390" sldId="256"/>
        </pc:sldMkLst>
        <pc:spChg chg="mod">
          <ac:chgData name="Rice, Daniel I" userId="S::drice@deloitte.com::98c2cb33-0d7c-489d-a193-7e1234fa5e89" providerId="AD" clId="Web-{101B6242-2A57-4AB3-5CC1-AFF7DC47779B}" dt="2024-05-30T14:15:08.004" v="28" actId="20577"/>
          <ac:spMkLst>
            <pc:docMk/>
            <pc:sldMk cId="2614706390" sldId="256"/>
            <ac:spMk id="2" creationId="{3F085A5A-404F-41B0-0A8C-317C08AACF4D}"/>
          </ac:spMkLst>
        </pc:spChg>
        <pc:spChg chg="mod">
          <ac:chgData name="Rice, Daniel I" userId="S::drice@deloitte.com::98c2cb33-0d7c-489d-a193-7e1234fa5e89" providerId="AD" clId="Web-{101B6242-2A57-4AB3-5CC1-AFF7DC47779B}" dt="2024-05-30T14:18:17.414" v="74" actId="1076"/>
          <ac:spMkLst>
            <pc:docMk/>
            <pc:sldMk cId="2614706390" sldId="256"/>
            <ac:spMk id="3" creationId="{A1E2CC97-2CFB-C86F-4880-AA14A65D15D0}"/>
          </ac:spMkLst>
        </pc:spChg>
      </pc:sldChg>
      <pc:sldChg chg="modSp new del">
        <pc:chgData name="Rice, Daniel I" userId="S::drice@deloitte.com::98c2cb33-0d7c-489d-a193-7e1234fa5e89" providerId="AD" clId="Web-{101B6242-2A57-4AB3-5CC1-AFF7DC47779B}" dt="2024-05-30T16:49:13.372" v="804"/>
        <pc:sldMkLst>
          <pc:docMk/>
          <pc:sldMk cId="2710045258" sldId="257"/>
        </pc:sldMkLst>
        <pc:spChg chg="mod">
          <ac:chgData name="Rice, Daniel I" userId="S::drice@deloitte.com::98c2cb33-0d7c-489d-a193-7e1234fa5e89" providerId="AD" clId="Web-{101B6242-2A57-4AB3-5CC1-AFF7DC47779B}" dt="2024-05-30T14:19:02.743" v="96" actId="20577"/>
          <ac:spMkLst>
            <pc:docMk/>
            <pc:sldMk cId="2710045258" sldId="257"/>
            <ac:spMk id="2" creationId="{565B64DC-424C-0E1D-3395-053EF18A3BDC}"/>
          </ac:spMkLst>
        </pc:spChg>
        <pc:spChg chg="mod">
          <ac:chgData name="Rice, Daniel I" userId="S::drice@deloitte.com::98c2cb33-0d7c-489d-a193-7e1234fa5e89" providerId="AD" clId="Web-{101B6242-2A57-4AB3-5CC1-AFF7DC47779B}" dt="2024-05-30T16:03:02.318" v="163" actId="20577"/>
          <ac:spMkLst>
            <pc:docMk/>
            <pc:sldMk cId="2710045258" sldId="257"/>
            <ac:spMk id="3" creationId="{5E3B773B-D046-3C2F-8BCD-EE57925179E4}"/>
          </ac:spMkLst>
        </pc:spChg>
      </pc:sldChg>
      <pc:sldChg chg="modSp new">
        <pc:chgData name="Rice, Daniel I" userId="S::drice@deloitte.com::98c2cb33-0d7c-489d-a193-7e1234fa5e89" providerId="AD" clId="Web-{101B6242-2A57-4AB3-5CC1-AFF7DC47779B}" dt="2024-05-30T14:19:31.291" v="113" actId="20577"/>
        <pc:sldMkLst>
          <pc:docMk/>
          <pc:sldMk cId="2836994187" sldId="258"/>
        </pc:sldMkLst>
        <pc:spChg chg="mod">
          <ac:chgData name="Rice, Daniel I" userId="S::drice@deloitte.com::98c2cb33-0d7c-489d-a193-7e1234fa5e89" providerId="AD" clId="Web-{101B6242-2A57-4AB3-5CC1-AFF7DC47779B}" dt="2024-05-30T14:19:31.291" v="113" actId="20577"/>
          <ac:spMkLst>
            <pc:docMk/>
            <pc:sldMk cId="2836994187" sldId="258"/>
            <ac:spMk id="2" creationId="{A5AD2C7C-0AF2-E4DC-5FE6-89AF2C72C2B1}"/>
          </ac:spMkLst>
        </pc:spChg>
      </pc:sldChg>
      <pc:sldChg chg="modSp new">
        <pc:chgData name="Rice, Daniel I" userId="S::drice@deloitte.com::98c2cb33-0d7c-489d-a193-7e1234fa5e89" providerId="AD" clId="Web-{101B6242-2A57-4AB3-5CC1-AFF7DC47779B}" dt="2024-05-30T14:19:46.541" v="126" actId="20577"/>
        <pc:sldMkLst>
          <pc:docMk/>
          <pc:sldMk cId="224413862" sldId="259"/>
        </pc:sldMkLst>
        <pc:spChg chg="mod">
          <ac:chgData name="Rice, Daniel I" userId="S::drice@deloitte.com::98c2cb33-0d7c-489d-a193-7e1234fa5e89" providerId="AD" clId="Web-{101B6242-2A57-4AB3-5CC1-AFF7DC47779B}" dt="2024-05-30T14:19:46.541" v="126" actId="20577"/>
          <ac:spMkLst>
            <pc:docMk/>
            <pc:sldMk cId="224413862" sldId="259"/>
            <ac:spMk id="2" creationId="{DA25C1AF-791C-E0C8-0A95-7283BADE81AA}"/>
          </ac:spMkLst>
        </pc:spChg>
      </pc:sldChg>
      <pc:sldChg chg="modSp new del">
        <pc:chgData name="Rice, Daniel I" userId="S::drice@deloitte.com::98c2cb33-0d7c-489d-a193-7e1234fa5e89" providerId="AD" clId="Web-{101B6242-2A57-4AB3-5CC1-AFF7DC47779B}" dt="2024-05-30T14:19:33.979" v="114"/>
        <pc:sldMkLst>
          <pc:docMk/>
          <pc:sldMk cId="1562491967" sldId="259"/>
        </pc:sldMkLst>
        <pc:spChg chg="mod">
          <ac:chgData name="Rice, Daniel I" userId="S::drice@deloitte.com::98c2cb33-0d7c-489d-a193-7e1234fa5e89" providerId="AD" clId="Web-{101B6242-2A57-4AB3-5CC1-AFF7DC47779B}" dt="2024-05-30T14:19:18.603" v="105" actId="20577"/>
          <ac:spMkLst>
            <pc:docMk/>
            <pc:sldMk cId="1562491967" sldId="259"/>
            <ac:spMk id="2" creationId="{2ABDAD81-365D-1A66-1ED1-CFB90CDC6FED}"/>
          </ac:spMkLst>
        </pc:spChg>
      </pc:sldChg>
      <pc:sldChg chg="modSp new">
        <pc:chgData name="Rice, Daniel I" userId="S::drice@deloitte.com::98c2cb33-0d7c-489d-a193-7e1234fa5e89" providerId="AD" clId="Web-{101B6242-2A57-4AB3-5CC1-AFF7DC47779B}" dt="2024-05-30T14:21:37.950" v="135" actId="20577"/>
        <pc:sldMkLst>
          <pc:docMk/>
          <pc:sldMk cId="1123055784" sldId="260"/>
        </pc:sldMkLst>
        <pc:spChg chg="mod">
          <ac:chgData name="Rice, Daniel I" userId="S::drice@deloitte.com::98c2cb33-0d7c-489d-a193-7e1234fa5e89" providerId="AD" clId="Web-{101B6242-2A57-4AB3-5CC1-AFF7DC47779B}" dt="2024-05-30T14:21:37.950" v="135" actId="20577"/>
          <ac:spMkLst>
            <pc:docMk/>
            <pc:sldMk cId="1123055784" sldId="260"/>
            <ac:spMk id="2" creationId="{F032E1EC-2138-FDA2-C865-E10B8A34E1A5}"/>
          </ac:spMkLst>
        </pc:spChg>
      </pc:sldChg>
      <pc:sldChg chg="addSp delSp modSp add">
        <pc:chgData name="Rice, Daniel I" userId="S::drice@deloitte.com::98c2cb33-0d7c-489d-a193-7e1234fa5e89" providerId="AD" clId="Web-{101B6242-2A57-4AB3-5CC1-AFF7DC47779B}" dt="2024-05-30T16:28:37.436" v="371" actId="1076"/>
        <pc:sldMkLst>
          <pc:docMk/>
          <pc:sldMk cId="866457816" sldId="324"/>
        </pc:sldMkLst>
        <pc:spChg chg="del mod">
          <ac:chgData name="Rice, Daniel I" userId="S::drice@deloitte.com::98c2cb33-0d7c-489d-a193-7e1234fa5e89" providerId="AD" clId="Web-{101B6242-2A57-4AB3-5CC1-AFF7DC47779B}" dt="2024-05-30T16:14:22.171" v="197"/>
          <ac:spMkLst>
            <pc:docMk/>
            <pc:sldMk cId="866457816" sldId="324"/>
            <ac:spMk id="5" creationId="{1B993F45-4720-4F9A-8211-10E3E07B03A9}"/>
          </ac:spMkLst>
        </pc:spChg>
        <pc:spChg chg="mod">
          <ac:chgData name="Rice, Daniel I" userId="S::drice@deloitte.com::98c2cb33-0d7c-489d-a193-7e1234fa5e89" providerId="AD" clId="Web-{101B6242-2A57-4AB3-5CC1-AFF7DC47779B}" dt="2024-05-30T16:13:08.747" v="194" actId="14100"/>
          <ac:spMkLst>
            <pc:docMk/>
            <pc:sldMk cId="866457816" sldId="324"/>
            <ac:spMk id="12" creationId="{903528D7-4EE1-2149-A7DB-BD4E1DDA26B5}"/>
          </ac:spMkLst>
        </pc:spChg>
        <pc:spChg chg="add del mod">
          <ac:chgData name="Rice, Daniel I" userId="S::drice@deloitte.com::98c2cb33-0d7c-489d-a193-7e1234fa5e89" providerId="AD" clId="Web-{101B6242-2A57-4AB3-5CC1-AFF7DC47779B}" dt="2024-05-30T16:14:50.985" v="208"/>
          <ac:spMkLst>
            <pc:docMk/>
            <pc:sldMk cId="866457816" sldId="324"/>
            <ac:spMk id="13" creationId="{F16105D2-39E4-F243-C240-E43C748D1700}"/>
          </ac:spMkLst>
        </pc:spChg>
        <pc:spChg chg="add mod">
          <ac:chgData name="Rice, Daniel I" userId="S::drice@deloitte.com::98c2cb33-0d7c-489d-a193-7e1234fa5e89" providerId="AD" clId="Web-{101B6242-2A57-4AB3-5CC1-AFF7DC47779B}" dt="2024-05-30T16:18:53.416" v="337" actId="20577"/>
          <ac:spMkLst>
            <pc:docMk/>
            <pc:sldMk cId="866457816" sldId="324"/>
            <ac:spMk id="14" creationId="{7FB34EBA-E09F-D86C-147E-56DC06E85C7A}"/>
          </ac:spMkLst>
        </pc:spChg>
        <pc:spChg chg="del">
          <ac:chgData name="Rice, Daniel I" userId="S::drice@deloitte.com::98c2cb33-0d7c-489d-a193-7e1234fa5e89" providerId="AD" clId="Web-{101B6242-2A57-4AB3-5CC1-AFF7DC47779B}" dt="2024-05-30T16:14:25.874" v="200"/>
          <ac:spMkLst>
            <pc:docMk/>
            <pc:sldMk cId="866457816" sldId="324"/>
            <ac:spMk id="15" creationId="{CDCE5D61-8D00-C740-8634-9708D01173A8}"/>
          </ac:spMkLst>
        </pc:spChg>
        <pc:spChg chg="add mod">
          <ac:chgData name="Rice, Daniel I" userId="S::drice@deloitte.com::98c2cb33-0d7c-489d-a193-7e1234fa5e89" providerId="AD" clId="Web-{101B6242-2A57-4AB3-5CC1-AFF7DC47779B}" dt="2024-05-30T16:19:27.932" v="355" actId="14100"/>
          <ac:spMkLst>
            <pc:docMk/>
            <pc:sldMk cId="866457816" sldId="324"/>
            <ac:spMk id="16" creationId="{E0EE6D96-9792-B20B-9431-64706E4CB6A4}"/>
          </ac:spMkLst>
        </pc:spChg>
        <pc:picChg chg="del">
          <ac:chgData name="Rice, Daniel I" userId="S::drice@deloitte.com::98c2cb33-0d7c-489d-a193-7e1234fa5e89" providerId="AD" clId="Web-{101B6242-2A57-4AB3-5CC1-AFF7DC47779B}" dt="2024-05-30T16:09:04.300" v="167"/>
          <ac:picMkLst>
            <pc:docMk/>
            <pc:sldMk cId="866457816" sldId="324"/>
            <ac:picMk id="3" creationId="{5C66A3A8-8F5E-4948-8053-75B898857B24}"/>
          </ac:picMkLst>
        </pc:picChg>
        <pc:picChg chg="add del mod">
          <ac:chgData name="Rice, Daniel I" userId="S::drice@deloitte.com::98c2cb33-0d7c-489d-a193-7e1234fa5e89" providerId="AD" clId="Web-{101B6242-2A57-4AB3-5CC1-AFF7DC47779B}" dt="2024-05-30T16:09:10.628" v="171"/>
          <ac:picMkLst>
            <pc:docMk/>
            <pc:sldMk cId="866457816" sldId="324"/>
            <ac:picMk id="6" creationId="{39922390-70F1-8414-BB84-4AA5F4310DB5}"/>
          </ac:picMkLst>
        </pc:picChg>
        <pc:picChg chg="add mod">
          <ac:chgData name="Rice, Daniel I" userId="S::drice@deloitte.com::98c2cb33-0d7c-489d-a193-7e1234fa5e89" providerId="AD" clId="Web-{101B6242-2A57-4AB3-5CC1-AFF7DC47779B}" dt="2024-05-30T16:28:37.436" v="371" actId="1076"/>
          <ac:picMkLst>
            <pc:docMk/>
            <pc:sldMk cId="866457816" sldId="324"/>
            <ac:picMk id="17" creationId="{AAD9A91C-7AFA-AD33-F995-10B4961B5A45}"/>
          </ac:picMkLst>
        </pc:picChg>
        <pc:cxnChg chg="del">
          <ac:chgData name="Rice, Daniel I" userId="S::drice@deloitte.com::98c2cb33-0d7c-489d-a193-7e1234fa5e89" providerId="AD" clId="Web-{101B6242-2A57-4AB3-5CC1-AFF7DC47779B}" dt="2024-05-30T16:14:24.328" v="199"/>
          <ac:cxnSpMkLst>
            <pc:docMk/>
            <pc:sldMk cId="866457816" sldId="324"/>
            <ac:cxnSpMk id="2" creationId="{EF64B2E5-F3CD-4F89-808F-EDABEAFBEF18}"/>
          </ac:cxnSpMkLst>
        </pc:cxnChg>
        <pc:cxnChg chg="del">
          <ac:chgData name="Rice, Daniel I" userId="S::drice@deloitte.com::98c2cb33-0d7c-489d-a193-7e1234fa5e89" providerId="AD" clId="Web-{101B6242-2A57-4AB3-5CC1-AFF7DC47779B}" dt="2024-05-30T16:14:23.609" v="198"/>
          <ac:cxnSpMkLst>
            <pc:docMk/>
            <pc:sldMk cId="866457816" sldId="324"/>
            <ac:cxnSpMk id="4" creationId="{174818A4-7BD1-4A9B-BCAD-3778BCE8C23A}"/>
          </ac:cxnSpMkLst>
        </pc:cxnChg>
      </pc:sldChg>
      <pc:sldChg chg="addSp modSp add">
        <pc:chgData name="Rice, Daniel I" userId="S::drice@deloitte.com::98c2cb33-0d7c-489d-a193-7e1234fa5e89" providerId="AD" clId="Web-{101B6242-2A57-4AB3-5CC1-AFF7DC47779B}" dt="2024-05-30T16:46:57.398" v="803" actId="1076"/>
        <pc:sldMkLst>
          <pc:docMk/>
          <pc:sldMk cId="2058249102" sldId="333"/>
        </pc:sldMkLst>
        <pc:spChg chg="mod">
          <ac:chgData name="Rice, Daniel I" userId="S::drice@deloitte.com::98c2cb33-0d7c-489d-a193-7e1234fa5e89" providerId="AD" clId="Web-{101B6242-2A57-4AB3-5CC1-AFF7DC47779B}" dt="2024-05-30T16:32:24.225" v="400" actId="1076"/>
          <ac:spMkLst>
            <pc:docMk/>
            <pc:sldMk cId="2058249102" sldId="333"/>
            <ac:spMk id="2" creationId="{B7BF1883-95FE-1B40-8C2F-8226B5B47C95}"/>
          </ac:spMkLst>
        </pc:spChg>
        <pc:spChg chg="add mod">
          <ac:chgData name="Rice, Daniel I" userId="S::drice@deloitte.com::98c2cb33-0d7c-489d-a193-7e1234fa5e89" providerId="AD" clId="Web-{101B6242-2A57-4AB3-5CC1-AFF7DC47779B}" dt="2024-05-30T16:36:19.499" v="474" actId="20577"/>
          <ac:spMkLst>
            <pc:docMk/>
            <pc:sldMk cId="2058249102" sldId="333"/>
            <ac:spMk id="3" creationId="{B591FFBB-AECD-C8E3-7D3E-54F96938872F}"/>
          </ac:spMkLst>
        </pc:spChg>
        <pc:spChg chg="mod">
          <ac:chgData name="Rice, Daniel I" userId="S::drice@deloitte.com::98c2cb33-0d7c-489d-a193-7e1234fa5e89" providerId="AD" clId="Web-{101B6242-2A57-4AB3-5CC1-AFF7DC47779B}" dt="2024-05-30T16:42:16.263" v="584" actId="20577"/>
          <ac:spMkLst>
            <pc:docMk/>
            <pc:sldMk cId="2058249102" sldId="333"/>
            <ac:spMk id="25" creationId="{77B0330E-ACE6-412F-BF5B-AEF1F726B74B}"/>
          </ac:spMkLst>
        </pc:spChg>
        <pc:spChg chg="mod">
          <ac:chgData name="Rice, Daniel I" userId="S::drice@deloitte.com::98c2cb33-0d7c-489d-a193-7e1234fa5e89" providerId="AD" clId="Web-{101B6242-2A57-4AB3-5CC1-AFF7DC47779B}" dt="2024-05-30T16:34:12.479" v="420"/>
          <ac:spMkLst>
            <pc:docMk/>
            <pc:sldMk cId="2058249102" sldId="333"/>
            <ac:spMk id="26" creationId="{2DC8DAA7-56CD-48F4-A253-22A863B3D45C}"/>
          </ac:spMkLst>
        </pc:spChg>
        <pc:spChg chg="mod">
          <ac:chgData name="Rice, Daniel I" userId="S::drice@deloitte.com::98c2cb33-0d7c-489d-a193-7e1234fa5e89" providerId="AD" clId="Web-{101B6242-2A57-4AB3-5CC1-AFF7DC47779B}" dt="2024-05-30T16:46:49.616" v="801" actId="1076"/>
          <ac:spMkLst>
            <pc:docMk/>
            <pc:sldMk cId="2058249102" sldId="333"/>
            <ac:spMk id="27" creationId="{CDEB55E1-950D-4A3B-AEE6-9F38E9CEE864}"/>
          </ac:spMkLst>
        </pc:spChg>
        <pc:spChg chg="mod">
          <ac:chgData name="Rice, Daniel I" userId="S::drice@deloitte.com::98c2cb33-0d7c-489d-a193-7e1234fa5e89" providerId="AD" clId="Web-{101B6242-2A57-4AB3-5CC1-AFF7DC47779B}" dt="2024-05-30T16:46:52.179" v="802" actId="1076"/>
          <ac:spMkLst>
            <pc:docMk/>
            <pc:sldMk cId="2058249102" sldId="333"/>
            <ac:spMk id="30" creationId="{AA18EBBE-2C95-4ECB-82C5-56196C499DAF}"/>
          </ac:spMkLst>
        </pc:spChg>
        <pc:grpChg chg="mod">
          <ac:chgData name="Rice, Daniel I" userId="S::drice@deloitte.com::98c2cb33-0d7c-489d-a193-7e1234fa5e89" providerId="AD" clId="Web-{101B6242-2A57-4AB3-5CC1-AFF7DC47779B}" dt="2024-05-30T16:46:28.694" v="797" actId="14100"/>
          <ac:grpSpMkLst>
            <pc:docMk/>
            <pc:sldMk cId="2058249102" sldId="333"/>
            <ac:grpSpMk id="8" creationId="{15AA86E6-6B6D-114C-B238-8F9D3E2C45B0}"/>
          </ac:grpSpMkLst>
        </pc:grpChg>
        <pc:cxnChg chg="mod">
          <ac:chgData name="Rice, Daniel I" userId="S::drice@deloitte.com::98c2cb33-0d7c-489d-a193-7e1234fa5e89" providerId="AD" clId="Web-{101B6242-2A57-4AB3-5CC1-AFF7DC47779B}" dt="2024-05-30T16:46:57.398" v="803" actId="1076"/>
          <ac:cxnSpMkLst>
            <pc:docMk/>
            <pc:sldMk cId="2058249102" sldId="333"/>
            <ac:cxnSpMk id="32" creationId="{F34CF609-9ABF-4854-972D-39A2AF1F03F4}"/>
          </ac:cxnSpMkLst>
        </pc:cxnChg>
      </pc:sldChg>
      <pc:sldChg chg="ord">
        <pc:chgData name="Rice, Daniel I" userId="S::drice@deloitte.com::98c2cb33-0d7c-489d-a193-7e1234fa5e89" providerId="AD" clId="Web-{101B6242-2A57-4AB3-5CC1-AFF7DC47779B}" dt="2024-05-30T16:49:17.825" v="805"/>
        <pc:sldMkLst>
          <pc:docMk/>
          <pc:sldMk cId="3633960545" sldId="340"/>
        </pc:sldMkLst>
      </pc:sldChg>
      <pc:sldChg chg="modSp new mod modShow">
        <pc:chgData name="Rice, Daniel I" userId="S::drice@deloitte.com::98c2cb33-0d7c-489d-a193-7e1234fa5e89" providerId="AD" clId="Web-{101B6242-2A57-4AB3-5CC1-AFF7DC47779B}" dt="2024-05-30T16:45:21.269" v="730" actId="20577"/>
        <pc:sldMkLst>
          <pc:docMk/>
          <pc:sldMk cId="2196993996" sldId="3327"/>
        </pc:sldMkLst>
        <pc:spChg chg="mod">
          <ac:chgData name="Rice, Daniel I" userId="S::drice@deloitte.com::98c2cb33-0d7c-489d-a193-7e1234fa5e89" providerId="AD" clId="Web-{101B6242-2A57-4AB3-5CC1-AFF7DC47779B}" dt="2024-05-30T16:19:32.292" v="361" actId="20577"/>
          <ac:spMkLst>
            <pc:docMk/>
            <pc:sldMk cId="2196993996" sldId="3327"/>
            <ac:spMk id="2" creationId="{23BCC8FA-F6E6-5932-7C5D-E2CB9557D11A}"/>
          </ac:spMkLst>
        </pc:spChg>
        <pc:spChg chg="mod">
          <ac:chgData name="Rice, Daniel I" userId="S::drice@deloitte.com::98c2cb33-0d7c-489d-a193-7e1234fa5e89" providerId="AD" clId="Web-{101B6242-2A57-4AB3-5CC1-AFF7DC47779B}" dt="2024-05-30T16:45:21.269" v="730" actId="20577"/>
          <ac:spMkLst>
            <pc:docMk/>
            <pc:sldMk cId="2196993996" sldId="3327"/>
            <ac:spMk id="3" creationId="{3FDA8E52-2486-CEAF-90FB-D041D150BAC1}"/>
          </ac:spMkLst>
        </pc:spChg>
      </pc:sldChg>
      <pc:sldChg chg="new del">
        <pc:chgData name="Rice, Daniel I" userId="S::drice@deloitte.com::98c2cb33-0d7c-489d-a193-7e1234fa5e89" providerId="AD" clId="Web-{101B6242-2A57-4AB3-5CC1-AFF7DC47779B}" dt="2024-05-30T16:08:27.752" v="165"/>
        <pc:sldMkLst>
          <pc:docMk/>
          <pc:sldMk cId="4071771855" sldId="3327"/>
        </pc:sldMkLst>
      </pc:sldChg>
      <pc:sldMasterChg chg="addSldLayout">
        <pc:chgData name="Rice, Daniel I" userId="S::drice@deloitte.com::98c2cb33-0d7c-489d-a193-7e1234fa5e89" providerId="AD" clId="Web-{101B6242-2A57-4AB3-5CC1-AFF7DC47779B}" dt="2024-05-30T16:32:03.006" v="372"/>
        <pc:sldMasterMkLst>
          <pc:docMk/>
          <pc:sldMasterMk cId="1968898803" sldId="2147483648"/>
        </pc:sldMasterMkLst>
        <pc:sldLayoutChg chg="add">
          <pc:chgData name="Rice, Daniel I" userId="S::drice@deloitte.com::98c2cb33-0d7c-489d-a193-7e1234fa5e89" providerId="AD" clId="Web-{101B6242-2A57-4AB3-5CC1-AFF7DC47779B}" dt="2024-05-30T16:08:29.783" v="166"/>
          <pc:sldLayoutMkLst>
            <pc:docMk/>
            <pc:sldMasterMk cId="1968898803" sldId="2147483648"/>
            <pc:sldLayoutMk cId="960987108" sldId="2147483663"/>
          </pc:sldLayoutMkLst>
        </pc:sldLayoutChg>
        <pc:sldLayoutChg chg="add">
          <pc:chgData name="Rice, Daniel I" userId="S::drice@deloitte.com::98c2cb33-0d7c-489d-a193-7e1234fa5e89" providerId="AD" clId="Web-{101B6242-2A57-4AB3-5CC1-AFF7DC47779B}" dt="2024-05-30T16:32:03.006" v="372"/>
          <pc:sldLayoutMkLst>
            <pc:docMk/>
            <pc:sldMasterMk cId="1968898803" sldId="2147483648"/>
            <pc:sldLayoutMk cId="1903789709" sldId="2147483664"/>
          </pc:sldLayoutMkLst>
        </pc:sldLayoutChg>
      </pc:sldMasterChg>
    </pc:docChg>
  </pc:docChgLst>
  <pc:docChgLst>
    <pc:chgData name="Alvarado Menendez, Leonardo" userId="S::lalvaradomenendez@deloitte.com::905d9c53-4bde-43eb-84a8-1d1744a10674" providerId="AD" clId="Web-{114F9040-D6B9-43A3-8B72-CB626FFCF480}"/>
    <pc:docChg chg="modSld">
      <pc:chgData name="Alvarado Menendez, Leonardo" userId="S::lalvaradomenendez@deloitte.com::905d9c53-4bde-43eb-84a8-1d1744a10674" providerId="AD" clId="Web-{114F9040-D6B9-43A3-8B72-CB626FFCF480}" dt="2024-05-31T17:38:54.811" v="9" actId="20577"/>
      <pc:docMkLst>
        <pc:docMk/>
      </pc:docMkLst>
      <pc:sldChg chg="modSp">
        <pc:chgData name="Alvarado Menendez, Leonardo" userId="S::lalvaradomenendez@deloitte.com::905d9c53-4bde-43eb-84a8-1d1744a10674" providerId="AD" clId="Web-{114F9040-D6B9-43A3-8B72-CB626FFCF480}" dt="2024-05-31T17:38:54.811" v="9" actId="20577"/>
        <pc:sldMkLst>
          <pc:docMk/>
          <pc:sldMk cId="240753442" sldId="3326"/>
        </pc:sldMkLst>
        <pc:spChg chg="mod">
          <ac:chgData name="Alvarado Menendez, Leonardo" userId="S::lalvaradomenendez@deloitte.com::905d9c53-4bde-43eb-84a8-1d1744a10674" providerId="AD" clId="Web-{114F9040-D6B9-43A3-8B72-CB626FFCF480}" dt="2024-05-31T17:38:54.811" v="9" actId="20577"/>
          <ac:spMkLst>
            <pc:docMk/>
            <pc:sldMk cId="240753442" sldId="3326"/>
            <ac:spMk id="11" creationId="{CC29EC0A-C510-DB0F-3650-4E9209A5792F}"/>
          </ac:spMkLst>
        </pc:spChg>
      </pc:sldChg>
    </pc:docChg>
  </pc:docChgLst>
</pc:chgInfo>
</file>

<file path=ppt/comments/modernComment_144_33A518D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8B3E323-3D14-46BD-BDCF-83D76986A2FE}" authorId="{887D8A80-752F-3EDF-EC81-AB0E35DEB497}" status="resolved" created="2024-05-31T18:51:02.899" complete="100000">
    <pc:sldMkLst xmlns:pc="http://schemas.microsoft.com/office/powerpoint/2013/main/command">
      <pc:docMk/>
      <pc:sldMk cId="866457816" sldId="324"/>
    </pc:sldMkLst>
    <p188:txBody>
      <a:bodyPr/>
      <a:lstStyle/>
      <a:p>
        <a:r>
          <a:rPr lang="en-US"/>
          <a:t>trim bullet point. For ex:  2017 - 2020, 127.9 million US ....</a:t>
        </a:r>
      </a:p>
    </p188:txBody>
  </p188:cm>
</p188:cmLst>
</file>

<file path=ppt/comments/modernComment_14D_7AAE638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CA5017F-6F24-4151-8A28-AFC4D536B151}" authorId="{887D8A80-752F-3EDF-EC81-AB0E35DEB497}" status="resolved" created="2024-05-31T18:52:14.011" complete="100000">
    <pc:sldMkLst xmlns:pc="http://schemas.microsoft.com/office/powerpoint/2013/main/command">
      <pc:docMk/>
      <pc:sldMk cId="2058249102" sldId="333"/>
    </pc:sldMkLst>
    <p188:txBody>
      <a:bodyPr/>
      <a:lstStyle/>
      <a:p>
        <a:r>
          <a:rPr lang="en-US"/>
          <a:t>trim down bullet point: machine learning section</a:t>
        </a:r>
      </a:p>
    </p188:txBody>
  </p188:cm>
</p188:cmLst>
</file>

<file path=ppt/comments/modernComment_154_D899D66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0D6AC25-FA22-405A-91E5-56806C3A4844}" authorId="{887D8A80-752F-3EDF-EC81-AB0E35DEB497}" created="2024-05-31T18:53:57.421">
    <pc:sldMkLst xmlns:pc="http://schemas.microsoft.com/office/powerpoint/2013/main/command">
      <pc:docMk/>
      <pc:sldMk cId="3633960545" sldId="340"/>
    </pc:sldMkLst>
    <p188:txBody>
      <a:bodyPr/>
      <a:lstStyle/>
      <a:p>
        <a:r>
          <a:rPr lang="en-US"/>
          <a:t>split into 2 slides</a:t>
        </a:r>
      </a:p>
    </p188:txBody>
  </p188:cm>
</p188:cmLst>
</file>

<file path=ppt/comments/modernComment_174_5395665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D8EFD13-7985-4CC8-8EBA-7E97D057515C}" authorId="{887D8A80-752F-3EDF-EC81-AB0E35DEB497}" created="2024-05-31T19:02:08.219">
    <pc:sldMkLst xmlns:pc="http://schemas.microsoft.com/office/powerpoint/2013/main/command">
      <pc:docMk/>
      <pc:sldMk cId="1402299992" sldId="372"/>
    </pc:sldMkLst>
    <p188:txBody>
      <a:bodyPr/>
      <a:lstStyle/>
      <a:p>
        <a:r>
          <a:rPr lang="en-US"/>
          <a:t>Precision: False Positive sensitive
Recall: False Negative sensitive
Talk more in a business sense
accuracy might not be best metric but it shows the accuracy of precision and recall
decision tree: (limitation for big dataset)</a:t>
        </a:r>
      </a:p>
    </p188:txBody>
  </p188:cm>
</p188:cmLst>
</file>

<file path=ppt/comments/modernComment_D02_AA2A07D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DD838B7-7163-407B-B6DB-205278EFD336}" authorId="{887D8A80-752F-3EDF-EC81-AB0E35DEB497}" created="2024-05-31T15:41:06.083">
    <pc:sldMkLst xmlns:pc="http://schemas.microsoft.com/office/powerpoint/2013/main/command">
      <pc:docMk/>
      <pc:sldMk cId="3743183705" sldId="337"/>
    </pc:sldMkLst>
    <p188:txBody>
      <a:bodyPr/>
      <a:lstStyle/>
      <a:p>
        <a:r>
          <a:rPr lang="en-US"/>
          <a:t>need data analysis slide - distribution of heart disease vs non-heart disease. what feature is driving the model</a:t>
        </a:r>
      </a:p>
    </p188:txBody>
  </p188:cm>
</p188:cmLst>
</file>

<file path=ppt/comments/modernComment_D03_6029621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4FA188D-F1AE-4DD2-89B5-ABC1F0EBAD74}" authorId="{887D8A80-752F-3EDF-EC81-AB0E35DEB497}" created="2024-05-31T15:41:06.083">
    <pc:sldMkLst xmlns:pc="http://schemas.microsoft.com/office/powerpoint/2013/main/command">
      <pc:docMk/>
      <pc:sldMk cId="3743183705" sldId="337"/>
    </pc:sldMkLst>
    <p188:txBody>
      <a:bodyPr/>
      <a:lstStyle/>
      <a:p>
        <a:r>
          <a:rPr lang="en-US"/>
          <a:t>need data analysis slide - distribution of heart disease vs non-heart disease. what feature is driving the model</a:t>
        </a:r>
      </a:p>
    </p188:txBody>
  </p188:cm>
</p188:cmLst>
</file>

<file path=ppt/comments/modernComment_D04_68EECF6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D2F9543-85A5-4FF5-B4D1-0984DF412BAB}" authorId="{887D8A80-752F-3EDF-EC81-AB0E35DEB497}" created="2024-05-31T19:04:02.302">
    <pc:sldMkLst xmlns:pc="http://schemas.microsoft.com/office/powerpoint/2013/main/command">
      <pc:docMk/>
      <pc:sldMk cId="1760481120" sldId="3332"/>
    </pc:sldMkLst>
    <p188:replyLst>
      <p188:reply id="{AB36660E-7871-4822-8EDD-A01D1BB8B0A5}" authorId="{602F1F5B-0DD6-FB92-74C8-7CC9E7BEEB92}" created="2024-06-12T16:39:07.961">
        <p188:txBody>
          <a:bodyPr/>
          <a:lstStyle/>
          <a:p>
            <a:r>
              <a:rPr lang="en-US"/>
              <a:t>Working on this </a:t>
            </a:r>
          </a:p>
        </p188:txBody>
      </p188:reply>
      <p188:reply id="{96CB7CA3-A89E-4751-B1E2-A2F55C6D7ADB}" authorId="{602F1F5B-0DD6-FB92-74C8-7CC9E7BEEB92}" created="2024-06-12T17:29:59.685">
        <p188:txBody>
          <a:bodyPr/>
          <a:lstStyle/>
          <a:p>
            <a:r>
              <a:rPr lang="en-US"/>
              <a:t>All set</a:t>
            </a:r>
          </a:p>
        </p188:txBody>
      </p188:reply>
    </p188:replyLst>
    <p188:txBody>
      <a:bodyPr/>
      <a:lstStyle/>
      <a:p>
        <a:r>
          <a:rPr lang="en-US"/>
          <a:t>add labels to graph. name features instead of feature 0, feature 1, etc.
rank features #1, #2, #3 instead of feature 10, feature 3 and feature 5</a:t>
        </a:r>
      </a:p>
    </p188:txBody>
  </p188:cm>
  <p188:cm id="{A061584E-45F5-48B9-906D-9B02BEBBF5EC}" authorId="{602F1F5B-0DD6-FB92-74C8-7CC9E7BEEB92}" created="2024-06-12T17:30:16.872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760481120" sldId="3332"/>
      <ac:spMk id="7" creationId="{7BA2C5B1-581E-9306-B493-E1748F245E09}"/>
      <ac:txMk cp="4" len="11">
        <ac:context len="60" hash="3283954825"/>
      </ac:txMk>
    </ac:txMkLst>
    <p188:pos x="2860622" y="324786"/>
    <p188:txBody>
      <a:bodyPr/>
      <a:lstStyle/>
      <a:p>
        <a:r>
          <a:rPr lang="en-US"/>
          <a:t>https://neurolaunch.com/upsloping-st-depression/</a:t>
        </a:r>
      </a:p>
    </p188:txBody>
  </p188:cm>
</p188:cmLst>
</file>

<file path=ppt/comments/modernComment_D05_10B77F6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35B1E8B-47E1-4C03-A026-D453FD860B2A}" authorId="{887D8A80-752F-3EDF-EC81-AB0E35DEB497}" created="2024-05-31T15:41:06.083">
    <pc:sldMkLst xmlns:pc="http://schemas.microsoft.com/office/powerpoint/2013/main/command">
      <pc:docMk/>
      <pc:sldMk cId="3743183705" sldId="337"/>
    </pc:sldMkLst>
    <p188:txBody>
      <a:bodyPr/>
      <a:lstStyle/>
      <a:p>
        <a:r>
          <a:rPr lang="en-US"/>
          <a:t>need data analysis slide - distribution of heart disease vs non-heart disease. what feature is driving the model</a:t>
        </a:r>
      </a:p>
    </p188:txBody>
  </p188:cm>
</p188:cmLst>
</file>

<file path=ppt/comments/modernComment_D07_40CBF80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C3A9802-AF6A-4B8E-ADFC-5ADFE560AFB5}" authorId="{887D8A80-752F-3EDF-EC81-AB0E35DEB497}" created="2024-05-31T18:53:57.421">
    <pc:sldMkLst xmlns:pc="http://schemas.microsoft.com/office/powerpoint/2013/main/command">
      <pc:docMk/>
      <pc:sldMk cId="3633960545" sldId="340"/>
    </pc:sldMkLst>
    <p188:txBody>
      <a:bodyPr/>
      <a:lstStyle/>
      <a:p>
        <a:r>
          <a:rPr lang="en-US"/>
          <a:t>split into 2 slides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4-06-12T18:04:02.868" authorId="{602F1F5B-0DD6-FB92-74C8-7CC9E7BEEB92}"/>
          </p223:rxn>
        </p223:reactions>
      </p:ext>
    </p188:extLst>
  </p188:cm>
</p188:cmLst>
</file>

<file path=ppt/comments/modernComment_D08_3741B4A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988E64C-614F-4D9E-AC66-DBF70B63CBDA}" authorId="{887D8A80-752F-3EDF-EC81-AB0E35DEB497}" created="2024-05-31T18:53:57.421">
    <pc:sldMkLst xmlns:pc="http://schemas.microsoft.com/office/powerpoint/2013/main/command">
      <pc:docMk/>
      <pc:sldMk cId="3633960545" sldId="340"/>
    </pc:sldMkLst>
    <p188:txBody>
      <a:bodyPr/>
      <a:lstStyle/>
      <a:p>
        <a:r>
          <a:rPr lang="en-US"/>
          <a:t>split into 2 slides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06D6417-AA5E-4B4B-84E3-A8FC91A5FDC1}" type="doc">
      <dgm:prSet loTypeId="urn:microsoft.com/office/officeart/2005/8/layout/default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899768FD-4CA9-42DC-BB13-597E38A19FE4}">
      <dgm:prSet/>
      <dgm:spPr/>
      <dgm:t>
        <a:bodyPr/>
        <a:lstStyle/>
        <a:p>
          <a:r>
            <a:rPr lang="en-US"/>
            <a:t>Age</a:t>
          </a:r>
        </a:p>
      </dgm:t>
    </dgm:pt>
    <dgm:pt modelId="{0544A6FC-8287-4462-99D4-48B44DB01851}" type="parTrans" cxnId="{AFFACDA8-B565-4E11-B3B5-0F07BB87B18F}">
      <dgm:prSet/>
      <dgm:spPr/>
      <dgm:t>
        <a:bodyPr/>
        <a:lstStyle/>
        <a:p>
          <a:endParaRPr lang="en-US"/>
        </a:p>
      </dgm:t>
    </dgm:pt>
    <dgm:pt modelId="{981F5A6D-29B8-4B39-B7BB-D6F40F2DAAF9}" type="sibTrans" cxnId="{AFFACDA8-B565-4E11-B3B5-0F07BB87B18F}">
      <dgm:prSet/>
      <dgm:spPr/>
      <dgm:t>
        <a:bodyPr/>
        <a:lstStyle/>
        <a:p>
          <a:endParaRPr lang="en-US"/>
        </a:p>
      </dgm:t>
    </dgm:pt>
    <dgm:pt modelId="{812B9B07-B1A3-42F2-A035-C7FF9B378E82}">
      <dgm:prSet/>
      <dgm:spPr/>
      <dgm:t>
        <a:bodyPr/>
        <a:lstStyle/>
        <a:p>
          <a:r>
            <a:rPr lang="en-US"/>
            <a:t>Sex</a:t>
          </a:r>
        </a:p>
      </dgm:t>
    </dgm:pt>
    <dgm:pt modelId="{A9758292-FD07-43A5-A35E-5A19E0C77059}" type="parTrans" cxnId="{0482DB90-3ED7-46A4-90FB-3488D3DDB95A}">
      <dgm:prSet/>
      <dgm:spPr/>
      <dgm:t>
        <a:bodyPr/>
        <a:lstStyle/>
        <a:p>
          <a:endParaRPr lang="en-US"/>
        </a:p>
      </dgm:t>
    </dgm:pt>
    <dgm:pt modelId="{B1AF0F90-8B0C-4340-A410-3B25EC5E05A6}" type="sibTrans" cxnId="{0482DB90-3ED7-46A4-90FB-3488D3DDB95A}">
      <dgm:prSet/>
      <dgm:spPr/>
      <dgm:t>
        <a:bodyPr/>
        <a:lstStyle/>
        <a:p>
          <a:endParaRPr lang="en-US"/>
        </a:p>
      </dgm:t>
    </dgm:pt>
    <dgm:pt modelId="{DDA05ECD-628C-4831-BBEF-E95D2B7CEDCF}">
      <dgm:prSet/>
      <dgm:spPr/>
      <dgm:t>
        <a:bodyPr/>
        <a:lstStyle/>
        <a:p>
          <a:r>
            <a:rPr lang="en-US"/>
            <a:t>Chest Pain Type: ATA, ASY, NAP</a:t>
          </a:r>
        </a:p>
      </dgm:t>
    </dgm:pt>
    <dgm:pt modelId="{B3AA1550-5E9D-45A1-9C0D-D9E973402DA0}" type="parTrans" cxnId="{8BFB33C1-72D5-443E-91AD-F7D9D2FDB296}">
      <dgm:prSet/>
      <dgm:spPr/>
      <dgm:t>
        <a:bodyPr/>
        <a:lstStyle/>
        <a:p>
          <a:endParaRPr lang="en-US"/>
        </a:p>
      </dgm:t>
    </dgm:pt>
    <dgm:pt modelId="{EF66F1E9-5BBA-4CE9-B791-F363E250927E}" type="sibTrans" cxnId="{8BFB33C1-72D5-443E-91AD-F7D9D2FDB296}">
      <dgm:prSet/>
      <dgm:spPr/>
      <dgm:t>
        <a:bodyPr/>
        <a:lstStyle/>
        <a:p>
          <a:endParaRPr lang="en-US"/>
        </a:p>
      </dgm:t>
    </dgm:pt>
    <dgm:pt modelId="{0D764FF4-E35E-42AC-8397-B61573D61C36}">
      <dgm:prSet/>
      <dgm:spPr/>
      <dgm:t>
        <a:bodyPr/>
        <a:lstStyle/>
        <a:p>
          <a:r>
            <a:rPr lang="en-US"/>
            <a:t>Resting Blood Pressure</a:t>
          </a:r>
        </a:p>
      </dgm:t>
    </dgm:pt>
    <dgm:pt modelId="{E580FB5A-26E1-46F8-8F26-558E0AA7D05A}" type="parTrans" cxnId="{63E34470-19A1-4F07-86BA-D741B1C51BFC}">
      <dgm:prSet/>
      <dgm:spPr/>
      <dgm:t>
        <a:bodyPr/>
        <a:lstStyle/>
        <a:p>
          <a:endParaRPr lang="en-US"/>
        </a:p>
      </dgm:t>
    </dgm:pt>
    <dgm:pt modelId="{41D02624-8323-4D74-B48D-957029DE4C72}" type="sibTrans" cxnId="{63E34470-19A1-4F07-86BA-D741B1C51BFC}">
      <dgm:prSet/>
      <dgm:spPr/>
      <dgm:t>
        <a:bodyPr/>
        <a:lstStyle/>
        <a:p>
          <a:endParaRPr lang="en-US"/>
        </a:p>
      </dgm:t>
    </dgm:pt>
    <dgm:pt modelId="{4DD7A5DA-A6E7-4451-A78B-2B3D661F8262}">
      <dgm:prSet/>
      <dgm:spPr/>
      <dgm:t>
        <a:bodyPr/>
        <a:lstStyle/>
        <a:p>
          <a:r>
            <a:rPr lang="en-US"/>
            <a:t>Cholesterol</a:t>
          </a:r>
        </a:p>
      </dgm:t>
    </dgm:pt>
    <dgm:pt modelId="{7C6FCDED-2040-4C9D-8817-340110D3C28C}" type="parTrans" cxnId="{51FBA11D-521B-4B53-A4D6-3C18DC465686}">
      <dgm:prSet/>
      <dgm:spPr/>
      <dgm:t>
        <a:bodyPr/>
        <a:lstStyle/>
        <a:p>
          <a:endParaRPr lang="en-US"/>
        </a:p>
      </dgm:t>
    </dgm:pt>
    <dgm:pt modelId="{555CC1F6-1620-4E35-BD2F-CBDC56574E12}" type="sibTrans" cxnId="{51FBA11D-521B-4B53-A4D6-3C18DC465686}">
      <dgm:prSet/>
      <dgm:spPr/>
      <dgm:t>
        <a:bodyPr/>
        <a:lstStyle/>
        <a:p>
          <a:endParaRPr lang="en-US"/>
        </a:p>
      </dgm:t>
    </dgm:pt>
    <dgm:pt modelId="{43E5A2A5-6C64-4131-BA70-08405CA91A59}">
      <dgm:prSet/>
      <dgm:spPr/>
      <dgm:t>
        <a:bodyPr/>
        <a:lstStyle/>
        <a:p>
          <a:r>
            <a:rPr lang="en-US"/>
            <a:t>Fasting Blood Sugar</a:t>
          </a:r>
        </a:p>
      </dgm:t>
    </dgm:pt>
    <dgm:pt modelId="{F128963F-4610-405C-A6A6-1F24A7DFDFAA}" type="parTrans" cxnId="{B58734FD-16BC-48F8-823C-F2D2DA6310C4}">
      <dgm:prSet/>
      <dgm:spPr/>
      <dgm:t>
        <a:bodyPr/>
        <a:lstStyle/>
        <a:p>
          <a:endParaRPr lang="en-US"/>
        </a:p>
      </dgm:t>
    </dgm:pt>
    <dgm:pt modelId="{9B83EA32-1439-40E9-90D8-5C6E0BBB8C89}" type="sibTrans" cxnId="{B58734FD-16BC-48F8-823C-F2D2DA6310C4}">
      <dgm:prSet/>
      <dgm:spPr/>
      <dgm:t>
        <a:bodyPr/>
        <a:lstStyle/>
        <a:p>
          <a:endParaRPr lang="en-US"/>
        </a:p>
      </dgm:t>
    </dgm:pt>
    <dgm:pt modelId="{EF8548C8-F69E-4D3B-9B29-222ECC974391}">
      <dgm:prSet/>
      <dgm:spPr/>
      <dgm:t>
        <a:bodyPr/>
        <a:lstStyle/>
        <a:p>
          <a:r>
            <a:rPr lang="en-US"/>
            <a:t>Resting ECG (Electrocardiogram)</a:t>
          </a:r>
        </a:p>
      </dgm:t>
    </dgm:pt>
    <dgm:pt modelId="{F933CF90-1C53-4062-BD32-CD7C1F89D8A7}" type="parTrans" cxnId="{724953EA-6356-4887-8F27-A01330A2E46A}">
      <dgm:prSet/>
      <dgm:spPr/>
      <dgm:t>
        <a:bodyPr/>
        <a:lstStyle/>
        <a:p>
          <a:endParaRPr lang="en-US"/>
        </a:p>
      </dgm:t>
    </dgm:pt>
    <dgm:pt modelId="{FA49FDE3-5C07-49C5-8D98-13EFA5E2F11C}" type="sibTrans" cxnId="{724953EA-6356-4887-8F27-A01330A2E46A}">
      <dgm:prSet/>
      <dgm:spPr/>
      <dgm:t>
        <a:bodyPr/>
        <a:lstStyle/>
        <a:p>
          <a:endParaRPr lang="en-US"/>
        </a:p>
      </dgm:t>
    </dgm:pt>
    <dgm:pt modelId="{1FE5A69A-1D52-47B0-AF1E-18DF94A74663}">
      <dgm:prSet/>
      <dgm:spPr/>
      <dgm:t>
        <a:bodyPr/>
        <a:lstStyle/>
        <a:p>
          <a:r>
            <a:rPr lang="en-US"/>
            <a:t>Maximum Heart Rate</a:t>
          </a:r>
        </a:p>
      </dgm:t>
    </dgm:pt>
    <dgm:pt modelId="{BF6E3123-26A6-4F1D-B83B-6CAC865A491D}" type="parTrans" cxnId="{B358FAB1-88D5-4C45-BCB2-D499415DF3DD}">
      <dgm:prSet/>
      <dgm:spPr/>
      <dgm:t>
        <a:bodyPr/>
        <a:lstStyle/>
        <a:p>
          <a:endParaRPr lang="en-US"/>
        </a:p>
      </dgm:t>
    </dgm:pt>
    <dgm:pt modelId="{A502F0A8-BE00-4206-875B-BFF7C3B1023B}" type="sibTrans" cxnId="{B358FAB1-88D5-4C45-BCB2-D499415DF3DD}">
      <dgm:prSet/>
      <dgm:spPr/>
      <dgm:t>
        <a:bodyPr/>
        <a:lstStyle/>
        <a:p>
          <a:endParaRPr lang="en-US"/>
        </a:p>
      </dgm:t>
    </dgm:pt>
    <dgm:pt modelId="{E5F57443-7D66-4BE4-9374-A827CC885EAB}">
      <dgm:prSet/>
      <dgm:spPr/>
      <dgm:t>
        <a:bodyPr/>
        <a:lstStyle/>
        <a:p>
          <a:r>
            <a:rPr lang="en-US"/>
            <a:t>Exercise Angina</a:t>
          </a:r>
        </a:p>
      </dgm:t>
    </dgm:pt>
    <dgm:pt modelId="{DEF9B7C3-6D94-418B-99C0-9C13E6792CFB}" type="parTrans" cxnId="{035D0FD1-18AF-42B8-92F3-051378636503}">
      <dgm:prSet/>
      <dgm:spPr/>
      <dgm:t>
        <a:bodyPr/>
        <a:lstStyle/>
        <a:p>
          <a:endParaRPr lang="en-US"/>
        </a:p>
      </dgm:t>
    </dgm:pt>
    <dgm:pt modelId="{347701BE-2086-4A45-91C4-78B01A837DED}" type="sibTrans" cxnId="{035D0FD1-18AF-42B8-92F3-051378636503}">
      <dgm:prSet/>
      <dgm:spPr/>
      <dgm:t>
        <a:bodyPr/>
        <a:lstStyle/>
        <a:p>
          <a:endParaRPr lang="en-US"/>
        </a:p>
      </dgm:t>
    </dgm:pt>
    <dgm:pt modelId="{B0EFD6E4-0416-4E1D-8CD7-5DF584F128D3}">
      <dgm:prSet/>
      <dgm:spPr/>
      <dgm:t>
        <a:bodyPr/>
        <a:lstStyle/>
        <a:p>
          <a:r>
            <a:rPr lang="en-US"/>
            <a:t>ST Slope</a:t>
          </a:r>
        </a:p>
      </dgm:t>
    </dgm:pt>
    <dgm:pt modelId="{67347F54-5C3B-48B5-93CA-95B6DC5E90D5}" type="parTrans" cxnId="{A94EDBEA-774B-4BCB-865C-7D0BCAFB6EA8}">
      <dgm:prSet/>
      <dgm:spPr/>
      <dgm:t>
        <a:bodyPr/>
        <a:lstStyle/>
        <a:p>
          <a:endParaRPr lang="en-US"/>
        </a:p>
      </dgm:t>
    </dgm:pt>
    <dgm:pt modelId="{1503EE37-271E-4790-A935-D885619A4352}" type="sibTrans" cxnId="{A94EDBEA-774B-4BCB-865C-7D0BCAFB6EA8}">
      <dgm:prSet/>
      <dgm:spPr/>
      <dgm:t>
        <a:bodyPr/>
        <a:lstStyle/>
        <a:p>
          <a:endParaRPr lang="en-US"/>
        </a:p>
      </dgm:t>
    </dgm:pt>
    <dgm:pt modelId="{4AAB3689-7953-4217-83AF-7C47F23F490B}" type="pres">
      <dgm:prSet presAssocID="{A06D6417-AA5E-4B4B-84E3-A8FC91A5FDC1}" presName="diagram" presStyleCnt="0">
        <dgm:presLayoutVars>
          <dgm:dir/>
          <dgm:resizeHandles val="exact"/>
        </dgm:presLayoutVars>
      </dgm:prSet>
      <dgm:spPr/>
    </dgm:pt>
    <dgm:pt modelId="{7D0F0A22-C3EE-42E4-8620-1665ED24DD09}" type="pres">
      <dgm:prSet presAssocID="{899768FD-4CA9-42DC-BB13-597E38A19FE4}" presName="node" presStyleLbl="node1" presStyleIdx="0" presStyleCnt="10">
        <dgm:presLayoutVars>
          <dgm:bulletEnabled val="1"/>
        </dgm:presLayoutVars>
      </dgm:prSet>
      <dgm:spPr/>
    </dgm:pt>
    <dgm:pt modelId="{A8885688-7AAD-4822-8D8A-B08025EECC6D}" type="pres">
      <dgm:prSet presAssocID="{981F5A6D-29B8-4B39-B7BB-D6F40F2DAAF9}" presName="sibTrans" presStyleCnt="0"/>
      <dgm:spPr/>
    </dgm:pt>
    <dgm:pt modelId="{2FF34463-D764-403B-910D-C50657ED9123}" type="pres">
      <dgm:prSet presAssocID="{812B9B07-B1A3-42F2-A035-C7FF9B378E82}" presName="node" presStyleLbl="node1" presStyleIdx="1" presStyleCnt="10">
        <dgm:presLayoutVars>
          <dgm:bulletEnabled val="1"/>
        </dgm:presLayoutVars>
      </dgm:prSet>
      <dgm:spPr/>
    </dgm:pt>
    <dgm:pt modelId="{E25CC9CA-3FBE-4A09-B498-AD08EE9170D3}" type="pres">
      <dgm:prSet presAssocID="{B1AF0F90-8B0C-4340-A410-3B25EC5E05A6}" presName="sibTrans" presStyleCnt="0"/>
      <dgm:spPr/>
    </dgm:pt>
    <dgm:pt modelId="{19649326-7F9C-4ED7-A73B-E1226B91F012}" type="pres">
      <dgm:prSet presAssocID="{DDA05ECD-628C-4831-BBEF-E95D2B7CEDCF}" presName="node" presStyleLbl="node1" presStyleIdx="2" presStyleCnt="10">
        <dgm:presLayoutVars>
          <dgm:bulletEnabled val="1"/>
        </dgm:presLayoutVars>
      </dgm:prSet>
      <dgm:spPr/>
    </dgm:pt>
    <dgm:pt modelId="{09BCC7E3-27DF-4ACC-9F10-FD0CE3049954}" type="pres">
      <dgm:prSet presAssocID="{EF66F1E9-5BBA-4CE9-B791-F363E250927E}" presName="sibTrans" presStyleCnt="0"/>
      <dgm:spPr/>
    </dgm:pt>
    <dgm:pt modelId="{4147A964-8039-4470-880D-0A5C899DE287}" type="pres">
      <dgm:prSet presAssocID="{0D764FF4-E35E-42AC-8397-B61573D61C36}" presName="node" presStyleLbl="node1" presStyleIdx="3" presStyleCnt="10">
        <dgm:presLayoutVars>
          <dgm:bulletEnabled val="1"/>
        </dgm:presLayoutVars>
      </dgm:prSet>
      <dgm:spPr/>
    </dgm:pt>
    <dgm:pt modelId="{E45C0FC4-307F-4DE3-8949-435FDE1715C3}" type="pres">
      <dgm:prSet presAssocID="{41D02624-8323-4D74-B48D-957029DE4C72}" presName="sibTrans" presStyleCnt="0"/>
      <dgm:spPr/>
    </dgm:pt>
    <dgm:pt modelId="{C3E90956-37E3-4B4A-88A2-EC2439F2845C}" type="pres">
      <dgm:prSet presAssocID="{4DD7A5DA-A6E7-4451-A78B-2B3D661F8262}" presName="node" presStyleLbl="node1" presStyleIdx="4" presStyleCnt="10">
        <dgm:presLayoutVars>
          <dgm:bulletEnabled val="1"/>
        </dgm:presLayoutVars>
      </dgm:prSet>
      <dgm:spPr/>
    </dgm:pt>
    <dgm:pt modelId="{A4B8329A-633B-4DA5-BC70-A1E245852957}" type="pres">
      <dgm:prSet presAssocID="{555CC1F6-1620-4E35-BD2F-CBDC56574E12}" presName="sibTrans" presStyleCnt="0"/>
      <dgm:spPr/>
    </dgm:pt>
    <dgm:pt modelId="{58434A37-4F4E-4B7F-A01A-80BB75024B06}" type="pres">
      <dgm:prSet presAssocID="{43E5A2A5-6C64-4131-BA70-08405CA91A59}" presName="node" presStyleLbl="node1" presStyleIdx="5" presStyleCnt="10">
        <dgm:presLayoutVars>
          <dgm:bulletEnabled val="1"/>
        </dgm:presLayoutVars>
      </dgm:prSet>
      <dgm:spPr/>
    </dgm:pt>
    <dgm:pt modelId="{EFBC640D-E082-42C8-89CC-54D9A6A9E681}" type="pres">
      <dgm:prSet presAssocID="{9B83EA32-1439-40E9-90D8-5C6E0BBB8C89}" presName="sibTrans" presStyleCnt="0"/>
      <dgm:spPr/>
    </dgm:pt>
    <dgm:pt modelId="{E3E0460D-BB10-4CD1-B20F-3BC704EB07D3}" type="pres">
      <dgm:prSet presAssocID="{EF8548C8-F69E-4D3B-9B29-222ECC974391}" presName="node" presStyleLbl="node1" presStyleIdx="6" presStyleCnt="10">
        <dgm:presLayoutVars>
          <dgm:bulletEnabled val="1"/>
        </dgm:presLayoutVars>
      </dgm:prSet>
      <dgm:spPr/>
    </dgm:pt>
    <dgm:pt modelId="{2BA5B07F-63A4-4455-A0F4-486996FF1BFF}" type="pres">
      <dgm:prSet presAssocID="{FA49FDE3-5C07-49C5-8D98-13EFA5E2F11C}" presName="sibTrans" presStyleCnt="0"/>
      <dgm:spPr/>
    </dgm:pt>
    <dgm:pt modelId="{9DD45C6B-43C2-4BBF-9A21-F8C94EDF5E23}" type="pres">
      <dgm:prSet presAssocID="{1FE5A69A-1D52-47B0-AF1E-18DF94A74663}" presName="node" presStyleLbl="node1" presStyleIdx="7" presStyleCnt="10">
        <dgm:presLayoutVars>
          <dgm:bulletEnabled val="1"/>
        </dgm:presLayoutVars>
      </dgm:prSet>
      <dgm:spPr/>
    </dgm:pt>
    <dgm:pt modelId="{3A4FC1B7-79B0-4C9C-A26D-87D0EBCCB059}" type="pres">
      <dgm:prSet presAssocID="{A502F0A8-BE00-4206-875B-BFF7C3B1023B}" presName="sibTrans" presStyleCnt="0"/>
      <dgm:spPr/>
    </dgm:pt>
    <dgm:pt modelId="{D8B1AF7F-1F83-4F36-A169-88871DABF1D8}" type="pres">
      <dgm:prSet presAssocID="{E5F57443-7D66-4BE4-9374-A827CC885EAB}" presName="node" presStyleLbl="node1" presStyleIdx="8" presStyleCnt="10">
        <dgm:presLayoutVars>
          <dgm:bulletEnabled val="1"/>
        </dgm:presLayoutVars>
      </dgm:prSet>
      <dgm:spPr/>
    </dgm:pt>
    <dgm:pt modelId="{612E1724-D933-4092-A641-CEA3F02F861C}" type="pres">
      <dgm:prSet presAssocID="{347701BE-2086-4A45-91C4-78B01A837DED}" presName="sibTrans" presStyleCnt="0"/>
      <dgm:spPr/>
    </dgm:pt>
    <dgm:pt modelId="{AAF55CE9-D51D-4FDC-A9C0-561619FC5454}" type="pres">
      <dgm:prSet presAssocID="{B0EFD6E4-0416-4E1D-8CD7-5DF584F128D3}" presName="node" presStyleLbl="node1" presStyleIdx="9" presStyleCnt="10">
        <dgm:presLayoutVars>
          <dgm:bulletEnabled val="1"/>
        </dgm:presLayoutVars>
      </dgm:prSet>
      <dgm:spPr/>
    </dgm:pt>
  </dgm:ptLst>
  <dgm:cxnLst>
    <dgm:cxn modelId="{51FBA11D-521B-4B53-A4D6-3C18DC465686}" srcId="{A06D6417-AA5E-4B4B-84E3-A8FC91A5FDC1}" destId="{4DD7A5DA-A6E7-4451-A78B-2B3D661F8262}" srcOrd="4" destOrd="0" parTransId="{7C6FCDED-2040-4C9D-8817-340110D3C28C}" sibTransId="{555CC1F6-1620-4E35-BD2F-CBDC56574E12}"/>
    <dgm:cxn modelId="{445DD926-A562-420B-B394-0A7F436AE1EB}" type="presOf" srcId="{1FE5A69A-1D52-47B0-AF1E-18DF94A74663}" destId="{9DD45C6B-43C2-4BBF-9A21-F8C94EDF5E23}" srcOrd="0" destOrd="0" presId="urn:microsoft.com/office/officeart/2005/8/layout/default"/>
    <dgm:cxn modelId="{B5CA0D34-066E-4EDE-97E6-200CB0FD7B98}" type="presOf" srcId="{812B9B07-B1A3-42F2-A035-C7FF9B378E82}" destId="{2FF34463-D764-403B-910D-C50657ED9123}" srcOrd="0" destOrd="0" presId="urn:microsoft.com/office/officeart/2005/8/layout/default"/>
    <dgm:cxn modelId="{C28F8B3A-A26E-406E-89F8-3AEBE7ABBE6C}" type="presOf" srcId="{0D764FF4-E35E-42AC-8397-B61573D61C36}" destId="{4147A964-8039-4470-880D-0A5C899DE287}" srcOrd="0" destOrd="0" presId="urn:microsoft.com/office/officeart/2005/8/layout/default"/>
    <dgm:cxn modelId="{63E34470-19A1-4F07-86BA-D741B1C51BFC}" srcId="{A06D6417-AA5E-4B4B-84E3-A8FC91A5FDC1}" destId="{0D764FF4-E35E-42AC-8397-B61573D61C36}" srcOrd="3" destOrd="0" parTransId="{E580FB5A-26E1-46F8-8F26-558E0AA7D05A}" sibTransId="{41D02624-8323-4D74-B48D-957029DE4C72}"/>
    <dgm:cxn modelId="{3BF06755-396B-4371-B624-8156B0F40934}" type="presOf" srcId="{43E5A2A5-6C64-4131-BA70-08405CA91A59}" destId="{58434A37-4F4E-4B7F-A01A-80BB75024B06}" srcOrd="0" destOrd="0" presId="urn:microsoft.com/office/officeart/2005/8/layout/default"/>
    <dgm:cxn modelId="{505BAC56-6DCE-4748-AE0D-2C0F1BC29A44}" type="presOf" srcId="{E5F57443-7D66-4BE4-9374-A827CC885EAB}" destId="{D8B1AF7F-1F83-4F36-A169-88871DABF1D8}" srcOrd="0" destOrd="0" presId="urn:microsoft.com/office/officeart/2005/8/layout/default"/>
    <dgm:cxn modelId="{A4F6428D-07D8-4A1B-8960-D626F5A07BF3}" type="presOf" srcId="{899768FD-4CA9-42DC-BB13-597E38A19FE4}" destId="{7D0F0A22-C3EE-42E4-8620-1665ED24DD09}" srcOrd="0" destOrd="0" presId="urn:microsoft.com/office/officeart/2005/8/layout/default"/>
    <dgm:cxn modelId="{7496818E-F6F9-4D5E-8B13-16B3B5E0A0E8}" type="presOf" srcId="{A06D6417-AA5E-4B4B-84E3-A8FC91A5FDC1}" destId="{4AAB3689-7953-4217-83AF-7C47F23F490B}" srcOrd="0" destOrd="0" presId="urn:microsoft.com/office/officeart/2005/8/layout/default"/>
    <dgm:cxn modelId="{0482DB90-3ED7-46A4-90FB-3488D3DDB95A}" srcId="{A06D6417-AA5E-4B4B-84E3-A8FC91A5FDC1}" destId="{812B9B07-B1A3-42F2-A035-C7FF9B378E82}" srcOrd="1" destOrd="0" parTransId="{A9758292-FD07-43A5-A35E-5A19E0C77059}" sibTransId="{B1AF0F90-8B0C-4340-A410-3B25EC5E05A6}"/>
    <dgm:cxn modelId="{D2FF9FA6-7B9A-4E53-AE78-620967CB116C}" type="presOf" srcId="{DDA05ECD-628C-4831-BBEF-E95D2B7CEDCF}" destId="{19649326-7F9C-4ED7-A73B-E1226B91F012}" srcOrd="0" destOrd="0" presId="urn:microsoft.com/office/officeart/2005/8/layout/default"/>
    <dgm:cxn modelId="{AFFACDA8-B565-4E11-B3B5-0F07BB87B18F}" srcId="{A06D6417-AA5E-4B4B-84E3-A8FC91A5FDC1}" destId="{899768FD-4CA9-42DC-BB13-597E38A19FE4}" srcOrd="0" destOrd="0" parTransId="{0544A6FC-8287-4462-99D4-48B44DB01851}" sibTransId="{981F5A6D-29B8-4B39-B7BB-D6F40F2DAAF9}"/>
    <dgm:cxn modelId="{B358FAB1-88D5-4C45-BCB2-D499415DF3DD}" srcId="{A06D6417-AA5E-4B4B-84E3-A8FC91A5FDC1}" destId="{1FE5A69A-1D52-47B0-AF1E-18DF94A74663}" srcOrd="7" destOrd="0" parTransId="{BF6E3123-26A6-4F1D-B83B-6CAC865A491D}" sibTransId="{A502F0A8-BE00-4206-875B-BFF7C3B1023B}"/>
    <dgm:cxn modelId="{8BFB33C1-72D5-443E-91AD-F7D9D2FDB296}" srcId="{A06D6417-AA5E-4B4B-84E3-A8FC91A5FDC1}" destId="{DDA05ECD-628C-4831-BBEF-E95D2B7CEDCF}" srcOrd="2" destOrd="0" parTransId="{B3AA1550-5E9D-45A1-9C0D-D9E973402DA0}" sibTransId="{EF66F1E9-5BBA-4CE9-B791-F363E250927E}"/>
    <dgm:cxn modelId="{035D0FD1-18AF-42B8-92F3-051378636503}" srcId="{A06D6417-AA5E-4B4B-84E3-A8FC91A5FDC1}" destId="{E5F57443-7D66-4BE4-9374-A827CC885EAB}" srcOrd="8" destOrd="0" parTransId="{DEF9B7C3-6D94-418B-99C0-9C13E6792CFB}" sibTransId="{347701BE-2086-4A45-91C4-78B01A837DED}"/>
    <dgm:cxn modelId="{1C3045E3-8A75-4887-A7F2-8CAB42597EC6}" type="presOf" srcId="{B0EFD6E4-0416-4E1D-8CD7-5DF584F128D3}" destId="{AAF55CE9-D51D-4FDC-A9C0-561619FC5454}" srcOrd="0" destOrd="0" presId="urn:microsoft.com/office/officeart/2005/8/layout/default"/>
    <dgm:cxn modelId="{724953EA-6356-4887-8F27-A01330A2E46A}" srcId="{A06D6417-AA5E-4B4B-84E3-A8FC91A5FDC1}" destId="{EF8548C8-F69E-4D3B-9B29-222ECC974391}" srcOrd="6" destOrd="0" parTransId="{F933CF90-1C53-4062-BD32-CD7C1F89D8A7}" sibTransId="{FA49FDE3-5C07-49C5-8D98-13EFA5E2F11C}"/>
    <dgm:cxn modelId="{A94EDBEA-774B-4BCB-865C-7D0BCAFB6EA8}" srcId="{A06D6417-AA5E-4B4B-84E3-A8FC91A5FDC1}" destId="{B0EFD6E4-0416-4E1D-8CD7-5DF584F128D3}" srcOrd="9" destOrd="0" parTransId="{67347F54-5C3B-48B5-93CA-95B6DC5E90D5}" sibTransId="{1503EE37-271E-4790-A935-D885619A4352}"/>
    <dgm:cxn modelId="{FF588AF7-D8FE-4F14-A0C9-E69D15691349}" type="presOf" srcId="{EF8548C8-F69E-4D3B-9B29-222ECC974391}" destId="{E3E0460D-BB10-4CD1-B20F-3BC704EB07D3}" srcOrd="0" destOrd="0" presId="urn:microsoft.com/office/officeart/2005/8/layout/default"/>
    <dgm:cxn modelId="{BFF41BFC-6A4D-4A0E-B6F6-F1A52AF37794}" type="presOf" srcId="{4DD7A5DA-A6E7-4451-A78B-2B3D661F8262}" destId="{C3E90956-37E3-4B4A-88A2-EC2439F2845C}" srcOrd="0" destOrd="0" presId="urn:microsoft.com/office/officeart/2005/8/layout/default"/>
    <dgm:cxn modelId="{B58734FD-16BC-48F8-823C-F2D2DA6310C4}" srcId="{A06D6417-AA5E-4B4B-84E3-A8FC91A5FDC1}" destId="{43E5A2A5-6C64-4131-BA70-08405CA91A59}" srcOrd="5" destOrd="0" parTransId="{F128963F-4610-405C-A6A6-1F24A7DFDFAA}" sibTransId="{9B83EA32-1439-40E9-90D8-5C6E0BBB8C89}"/>
    <dgm:cxn modelId="{89D1B3D6-6B28-477D-9945-63FFAEF42F00}" type="presParOf" srcId="{4AAB3689-7953-4217-83AF-7C47F23F490B}" destId="{7D0F0A22-C3EE-42E4-8620-1665ED24DD09}" srcOrd="0" destOrd="0" presId="urn:microsoft.com/office/officeart/2005/8/layout/default"/>
    <dgm:cxn modelId="{A8938BF8-331D-46D3-AB65-CCA65F3F0B16}" type="presParOf" srcId="{4AAB3689-7953-4217-83AF-7C47F23F490B}" destId="{A8885688-7AAD-4822-8D8A-B08025EECC6D}" srcOrd="1" destOrd="0" presId="urn:microsoft.com/office/officeart/2005/8/layout/default"/>
    <dgm:cxn modelId="{0C838742-36FE-46E1-B8CD-07800680F2FC}" type="presParOf" srcId="{4AAB3689-7953-4217-83AF-7C47F23F490B}" destId="{2FF34463-D764-403B-910D-C50657ED9123}" srcOrd="2" destOrd="0" presId="urn:microsoft.com/office/officeart/2005/8/layout/default"/>
    <dgm:cxn modelId="{9B796183-06D7-47A9-924E-0E17BAF93067}" type="presParOf" srcId="{4AAB3689-7953-4217-83AF-7C47F23F490B}" destId="{E25CC9CA-3FBE-4A09-B498-AD08EE9170D3}" srcOrd="3" destOrd="0" presId="urn:microsoft.com/office/officeart/2005/8/layout/default"/>
    <dgm:cxn modelId="{B79B7704-9958-454E-B2C8-760670570C8B}" type="presParOf" srcId="{4AAB3689-7953-4217-83AF-7C47F23F490B}" destId="{19649326-7F9C-4ED7-A73B-E1226B91F012}" srcOrd="4" destOrd="0" presId="urn:microsoft.com/office/officeart/2005/8/layout/default"/>
    <dgm:cxn modelId="{4AA336E8-5E46-47AD-BF40-4B03B491EB19}" type="presParOf" srcId="{4AAB3689-7953-4217-83AF-7C47F23F490B}" destId="{09BCC7E3-27DF-4ACC-9F10-FD0CE3049954}" srcOrd="5" destOrd="0" presId="urn:microsoft.com/office/officeart/2005/8/layout/default"/>
    <dgm:cxn modelId="{E58CAB15-DB8D-4294-901D-6F151460E0DD}" type="presParOf" srcId="{4AAB3689-7953-4217-83AF-7C47F23F490B}" destId="{4147A964-8039-4470-880D-0A5C899DE287}" srcOrd="6" destOrd="0" presId="urn:microsoft.com/office/officeart/2005/8/layout/default"/>
    <dgm:cxn modelId="{B8A28FD3-45F9-421E-9511-D0BC25EE385A}" type="presParOf" srcId="{4AAB3689-7953-4217-83AF-7C47F23F490B}" destId="{E45C0FC4-307F-4DE3-8949-435FDE1715C3}" srcOrd="7" destOrd="0" presId="urn:microsoft.com/office/officeart/2005/8/layout/default"/>
    <dgm:cxn modelId="{509FFE17-E471-4414-B28B-68E35C9B4F7E}" type="presParOf" srcId="{4AAB3689-7953-4217-83AF-7C47F23F490B}" destId="{C3E90956-37E3-4B4A-88A2-EC2439F2845C}" srcOrd="8" destOrd="0" presId="urn:microsoft.com/office/officeart/2005/8/layout/default"/>
    <dgm:cxn modelId="{8587EE9A-CBBA-4A0A-99FE-C9D57D81F9B2}" type="presParOf" srcId="{4AAB3689-7953-4217-83AF-7C47F23F490B}" destId="{A4B8329A-633B-4DA5-BC70-A1E245852957}" srcOrd="9" destOrd="0" presId="urn:microsoft.com/office/officeart/2005/8/layout/default"/>
    <dgm:cxn modelId="{B909C7DB-2EA6-419A-B908-58940642DE10}" type="presParOf" srcId="{4AAB3689-7953-4217-83AF-7C47F23F490B}" destId="{58434A37-4F4E-4B7F-A01A-80BB75024B06}" srcOrd="10" destOrd="0" presId="urn:microsoft.com/office/officeart/2005/8/layout/default"/>
    <dgm:cxn modelId="{57D4C99D-8BA7-40E9-92CF-78D960B095DA}" type="presParOf" srcId="{4AAB3689-7953-4217-83AF-7C47F23F490B}" destId="{EFBC640D-E082-42C8-89CC-54D9A6A9E681}" srcOrd="11" destOrd="0" presId="urn:microsoft.com/office/officeart/2005/8/layout/default"/>
    <dgm:cxn modelId="{E400E069-740D-4F3B-9663-9CDE1A941D39}" type="presParOf" srcId="{4AAB3689-7953-4217-83AF-7C47F23F490B}" destId="{E3E0460D-BB10-4CD1-B20F-3BC704EB07D3}" srcOrd="12" destOrd="0" presId="urn:microsoft.com/office/officeart/2005/8/layout/default"/>
    <dgm:cxn modelId="{0EABD2F6-B12E-4C5D-9157-F7D5BA456B77}" type="presParOf" srcId="{4AAB3689-7953-4217-83AF-7C47F23F490B}" destId="{2BA5B07F-63A4-4455-A0F4-486996FF1BFF}" srcOrd="13" destOrd="0" presId="urn:microsoft.com/office/officeart/2005/8/layout/default"/>
    <dgm:cxn modelId="{11BB374F-0BC8-4701-89EB-2D2EDCCD0DFE}" type="presParOf" srcId="{4AAB3689-7953-4217-83AF-7C47F23F490B}" destId="{9DD45C6B-43C2-4BBF-9A21-F8C94EDF5E23}" srcOrd="14" destOrd="0" presId="urn:microsoft.com/office/officeart/2005/8/layout/default"/>
    <dgm:cxn modelId="{EF22454D-6543-4B34-908C-6E7F71D417E3}" type="presParOf" srcId="{4AAB3689-7953-4217-83AF-7C47F23F490B}" destId="{3A4FC1B7-79B0-4C9C-A26D-87D0EBCCB059}" srcOrd="15" destOrd="0" presId="urn:microsoft.com/office/officeart/2005/8/layout/default"/>
    <dgm:cxn modelId="{533AD212-9857-44DF-A7C9-19087FF60A26}" type="presParOf" srcId="{4AAB3689-7953-4217-83AF-7C47F23F490B}" destId="{D8B1AF7F-1F83-4F36-A169-88871DABF1D8}" srcOrd="16" destOrd="0" presId="urn:microsoft.com/office/officeart/2005/8/layout/default"/>
    <dgm:cxn modelId="{E967A57C-A31A-444B-B3AB-F19BBD933B55}" type="presParOf" srcId="{4AAB3689-7953-4217-83AF-7C47F23F490B}" destId="{612E1724-D933-4092-A641-CEA3F02F861C}" srcOrd="17" destOrd="0" presId="urn:microsoft.com/office/officeart/2005/8/layout/default"/>
    <dgm:cxn modelId="{23886835-DFE9-4B1C-ABE8-44345A44CB3B}" type="presParOf" srcId="{4AAB3689-7953-4217-83AF-7C47F23F490B}" destId="{AAF55CE9-D51D-4FDC-A9C0-561619FC5454}" srcOrd="1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0F0A22-C3EE-42E4-8620-1665ED24DD09}">
      <dsp:nvSpPr>
        <dsp:cNvPr id="0" name=""/>
        <dsp:cNvSpPr/>
      </dsp:nvSpPr>
      <dsp:spPr>
        <a:xfrm>
          <a:off x="333648" y="3254"/>
          <a:ext cx="1361582" cy="81694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Age</a:t>
          </a:r>
        </a:p>
      </dsp:txBody>
      <dsp:txXfrm>
        <a:off x="333648" y="3254"/>
        <a:ext cx="1361582" cy="816949"/>
      </dsp:txXfrm>
    </dsp:sp>
    <dsp:sp modelId="{2FF34463-D764-403B-910D-C50657ED9123}">
      <dsp:nvSpPr>
        <dsp:cNvPr id="0" name=""/>
        <dsp:cNvSpPr/>
      </dsp:nvSpPr>
      <dsp:spPr>
        <a:xfrm>
          <a:off x="1831389" y="3254"/>
          <a:ext cx="1361582" cy="816949"/>
        </a:xfrm>
        <a:prstGeom prst="rect">
          <a:avLst/>
        </a:prstGeom>
        <a:solidFill>
          <a:schemeClr val="accent2">
            <a:hueOff val="-161707"/>
            <a:satOff val="-9325"/>
            <a:lumOff val="95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Sex</a:t>
          </a:r>
        </a:p>
      </dsp:txBody>
      <dsp:txXfrm>
        <a:off x="1831389" y="3254"/>
        <a:ext cx="1361582" cy="816949"/>
      </dsp:txXfrm>
    </dsp:sp>
    <dsp:sp modelId="{19649326-7F9C-4ED7-A73B-E1226B91F012}">
      <dsp:nvSpPr>
        <dsp:cNvPr id="0" name=""/>
        <dsp:cNvSpPr/>
      </dsp:nvSpPr>
      <dsp:spPr>
        <a:xfrm>
          <a:off x="3329129" y="3254"/>
          <a:ext cx="1361582" cy="816949"/>
        </a:xfrm>
        <a:prstGeom prst="rect">
          <a:avLst/>
        </a:prstGeom>
        <a:solidFill>
          <a:schemeClr val="accent2">
            <a:hueOff val="-323414"/>
            <a:satOff val="-18651"/>
            <a:lumOff val="191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Chest Pain Type: ATA, ASY, NAP</a:t>
          </a:r>
        </a:p>
      </dsp:txBody>
      <dsp:txXfrm>
        <a:off x="3329129" y="3254"/>
        <a:ext cx="1361582" cy="816949"/>
      </dsp:txXfrm>
    </dsp:sp>
    <dsp:sp modelId="{4147A964-8039-4470-880D-0A5C899DE287}">
      <dsp:nvSpPr>
        <dsp:cNvPr id="0" name=""/>
        <dsp:cNvSpPr/>
      </dsp:nvSpPr>
      <dsp:spPr>
        <a:xfrm>
          <a:off x="333648" y="956361"/>
          <a:ext cx="1361582" cy="816949"/>
        </a:xfrm>
        <a:prstGeom prst="rect">
          <a:avLst/>
        </a:prstGeom>
        <a:solidFill>
          <a:schemeClr val="accent2">
            <a:hueOff val="-485121"/>
            <a:satOff val="-27976"/>
            <a:lumOff val="287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sting Blood Pressure</a:t>
          </a:r>
        </a:p>
      </dsp:txBody>
      <dsp:txXfrm>
        <a:off x="333648" y="956361"/>
        <a:ext cx="1361582" cy="816949"/>
      </dsp:txXfrm>
    </dsp:sp>
    <dsp:sp modelId="{C3E90956-37E3-4B4A-88A2-EC2439F2845C}">
      <dsp:nvSpPr>
        <dsp:cNvPr id="0" name=""/>
        <dsp:cNvSpPr/>
      </dsp:nvSpPr>
      <dsp:spPr>
        <a:xfrm>
          <a:off x="1831389" y="956361"/>
          <a:ext cx="1361582" cy="816949"/>
        </a:xfrm>
        <a:prstGeom prst="rect">
          <a:avLst/>
        </a:prstGeom>
        <a:solidFill>
          <a:schemeClr val="accent2">
            <a:hueOff val="-646828"/>
            <a:satOff val="-37301"/>
            <a:lumOff val="383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Cholesterol</a:t>
          </a:r>
        </a:p>
      </dsp:txBody>
      <dsp:txXfrm>
        <a:off x="1831389" y="956361"/>
        <a:ext cx="1361582" cy="816949"/>
      </dsp:txXfrm>
    </dsp:sp>
    <dsp:sp modelId="{58434A37-4F4E-4B7F-A01A-80BB75024B06}">
      <dsp:nvSpPr>
        <dsp:cNvPr id="0" name=""/>
        <dsp:cNvSpPr/>
      </dsp:nvSpPr>
      <dsp:spPr>
        <a:xfrm>
          <a:off x="3329129" y="956361"/>
          <a:ext cx="1361582" cy="816949"/>
        </a:xfrm>
        <a:prstGeom prst="rect">
          <a:avLst/>
        </a:prstGeom>
        <a:solidFill>
          <a:schemeClr val="accent2">
            <a:hueOff val="-808535"/>
            <a:satOff val="-46627"/>
            <a:lumOff val="479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Fasting Blood Sugar</a:t>
          </a:r>
        </a:p>
      </dsp:txBody>
      <dsp:txXfrm>
        <a:off x="3329129" y="956361"/>
        <a:ext cx="1361582" cy="816949"/>
      </dsp:txXfrm>
    </dsp:sp>
    <dsp:sp modelId="{E3E0460D-BB10-4CD1-B20F-3BC704EB07D3}">
      <dsp:nvSpPr>
        <dsp:cNvPr id="0" name=""/>
        <dsp:cNvSpPr/>
      </dsp:nvSpPr>
      <dsp:spPr>
        <a:xfrm>
          <a:off x="333648" y="1909469"/>
          <a:ext cx="1361582" cy="816949"/>
        </a:xfrm>
        <a:prstGeom prst="rect">
          <a:avLst/>
        </a:prstGeom>
        <a:solidFill>
          <a:schemeClr val="accent2">
            <a:hueOff val="-970242"/>
            <a:satOff val="-55952"/>
            <a:lumOff val="575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sting ECG (Electrocardiogram)</a:t>
          </a:r>
        </a:p>
      </dsp:txBody>
      <dsp:txXfrm>
        <a:off x="333648" y="1909469"/>
        <a:ext cx="1361582" cy="816949"/>
      </dsp:txXfrm>
    </dsp:sp>
    <dsp:sp modelId="{9DD45C6B-43C2-4BBF-9A21-F8C94EDF5E23}">
      <dsp:nvSpPr>
        <dsp:cNvPr id="0" name=""/>
        <dsp:cNvSpPr/>
      </dsp:nvSpPr>
      <dsp:spPr>
        <a:xfrm>
          <a:off x="1831389" y="1909469"/>
          <a:ext cx="1361582" cy="816949"/>
        </a:xfrm>
        <a:prstGeom prst="rect">
          <a:avLst/>
        </a:prstGeom>
        <a:solidFill>
          <a:schemeClr val="accent2">
            <a:hueOff val="-1131949"/>
            <a:satOff val="-65277"/>
            <a:lumOff val="671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Maximum Heart Rate</a:t>
          </a:r>
        </a:p>
      </dsp:txBody>
      <dsp:txXfrm>
        <a:off x="1831389" y="1909469"/>
        <a:ext cx="1361582" cy="816949"/>
      </dsp:txXfrm>
    </dsp:sp>
    <dsp:sp modelId="{D8B1AF7F-1F83-4F36-A169-88871DABF1D8}">
      <dsp:nvSpPr>
        <dsp:cNvPr id="0" name=""/>
        <dsp:cNvSpPr/>
      </dsp:nvSpPr>
      <dsp:spPr>
        <a:xfrm>
          <a:off x="3329129" y="1909469"/>
          <a:ext cx="1361582" cy="816949"/>
        </a:xfrm>
        <a:prstGeom prst="rect">
          <a:avLst/>
        </a:prstGeom>
        <a:solidFill>
          <a:schemeClr val="accent2">
            <a:hueOff val="-1293656"/>
            <a:satOff val="-74603"/>
            <a:lumOff val="766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xercise Angina</a:t>
          </a:r>
        </a:p>
      </dsp:txBody>
      <dsp:txXfrm>
        <a:off x="3329129" y="1909469"/>
        <a:ext cx="1361582" cy="816949"/>
      </dsp:txXfrm>
    </dsp:sp>
    <dsp:sp modelId="{AAF55CE9-D51D-4FDC-A9C0-561619FC5454}">
      <dsp:nvSpPr>
        <dsp:cNvPr id="0" name=""/>
        <dsp:cNvSpPr/>
      </dsp:nvSpPr>
      <dsp:spPr>
        <a:xfrm>
          <a:off x="1831389" y="2862576"/>
          <a:ext cx="1361582" cy="816949"/>
        </a:xfrm>
        <a:prstGeom prst="rect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ST Slope</a:t>
          </a:r>
        </a:p>
      </dsp:txBody>
      <dsp:txXfrm>
        <a:off x="1831389" y="2862576"/>
        <a:ext cx="1361582" cy="81694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B9D388-E029-42AF-A446-D84C5EB18190}" type="datetimeFigureOut">
              <a:t>6/1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4635C0-83AB-4443-AE72-C127BF985167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1401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3061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/>
              <a:t>Tags: approach, objectives, situation, current stat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7910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ags: scope, text boxes, ic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3198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ags: text, list, fundamental principles, ic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89E7E8-36E4-467C-8300-85BCF6933FB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5349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ags: text, list,</a:t>
            </a:r>
            <a:r>
              <a:rPr lang="en-US" baseline="0"/>
              <a:t> principle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89E7E8-36E4-467C-8300-85BCF6933FB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8370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ags: statement, left aligned text, right aligned image, question, ima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8862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ags: approach, overview, scope, li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18192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/>
              <a:t>Tags: objectives, vision, approac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8942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/>
              <a:t>Tags: objectives, vision, approac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7314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/>
              <a:t>Tags: objectives, vision, approac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3286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/>
              <a:t>Tags: approach, objectives, situation, current stat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8006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/>
              <a:t>Tags: approach, objectives, situation, current stat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837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/>
              <a:t>Tags: approach, objectives, situation, current stat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7715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71902-D9D3-49DE-282E-8125813ECA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EDF8C9C-81F2-D5BA-6A43-53E76C569C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755D2E-466A-9409-D2E1-1ACA2DA528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1AD80-2AF3-4DCE-97C2-54898F7C5FFA}" type="datetimeFigureOut">
              <a:rPr lang="en-US" smtClean="0"/>
              <a:t>6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59D3F0-FAE4-7E7C-82F0-6404F5C391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816D5F-F19D-E4B5-CE54-6AE36F9B0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4F71A-BC95-4A31-BE40-F84E60E4A8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9150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B7046-1FD2-4FC6-97C7-F49A0C9D06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44D7D78-008C-654B-D76A-6B5B7631BA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3EC18B-882B-2A45-C998-DB59935C28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1AD80-2AF3-4DCE-97C2-54898F7C5FFA}" type="datetimeFigureOut">
              <a:rPr lang="en-US" smtClean="0"/>
              <a:t>6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38FEA2-27F8-12C7-A817-9EB79C26D6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EB43F9-CC3B-E2FB-343D-3CEA75F2E9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4F71A-BC95-4A31-BE40-F84E60E4A8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1934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DC58E12-5376-7DA5-0742-1BFBE56542F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6C3CC8-622E-F6B7-0A79-BD1CA9871CF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F2639C-0EEE-3DB2-8C22-4E30A94681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1AD80-2AF3-4DCE-97C2-54898F7C5FFA}" type="datetimeFigureOut">
              <a:rPr lang="en-US" smtClean="0"/>
              <a:t>6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2E044B-0DD9-4E1E-57C6-634945B886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07AE62-B2E6-B8D5-E200-82A27384FD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4F71A-BC95-4A31-BE40-F84E60E4A8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869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i="0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6605626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bg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2688984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head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200" kern="1200" noProof="0" dirty="0">
                <a:solidFill>
                  <a:schemeClr val="accent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i="0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2095289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eative head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DFD0DC-3853-5040-A3D4-605F29FFE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136" y="558800"/>
            <a:ext cx="11252200" cy="505290"/>
          </a:xfrm>
        </p:spPr>
        <p:txBody>
          <a:bodyPr anchor="b"/>
          <a:lstStyle>
            <a:lvl1pPr>
              <a:lnSpc>
                <a:spcPct val="80000"/>
              </a:lnSpc>
              <a:defRPr sz="36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F7C0DFF2-D65B-2C49-93EB-7FBEAF7219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6296" y="1112803"/>
            <a:ext cx="11290104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098710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ative headline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978" y="548298"/>
            <a:ext cx="3347390" cy="1995802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30978" y="2392822"/>
            <a:ext cx="3355975" cy="1169988"/>
          </a:xfrm>
        </p:spPr>
        <p:txBody>
          <a:bodyPr/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37897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eative head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DFD0DC-3853-5040-A3D4-605F29FFE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136" y="558800"/>
            <a:ext cx="11252200" cy="505290"/>
          </a:xfrm>
        </p:spPr>
        <p:txBody>
          <a:bodyPr anchor="b"/>
          <a:lstStyle>
            <a:lvl1pPr>
              <a:lnSpc>
                <a:spcPct val="80000"/>
              </a:lnSpc>
              <a:defRPr sz="36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F7C0DFF2-D65B-2C49-93EB-7FBEAF7219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6296" y="1112803"/>
            <a:ext cx="11290104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BC53FB50-D1D6-AF42-954E-A60FFED3BC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6135" y="344424"/>
            <a:ext cx="4703575" cy="17686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tx1">
                    <a:lumMod val="50000"/>
                    <a:lumOff val="5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58466931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tx1">
                    <a:lumMod val="50000"/>
                    <a:lumOff val="5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16637382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1FBEA9-1BB1-84D7-3811-F2C791C05B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8F209F-3706-3B16-8B77-6E707B10BB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120EFB-8D94-3DC6-1702-E9CCF8BC31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1AD80-2AF3-4DCE-97C2-54898F7C5FFA}" type="datetimeFigureOut">
              <a:rPr lang="en-US" smtClean="0"/>
              <a:t>6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A01EA8-921F-685E-CFDF-7CB16D534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D4DB26-5E66-EEF1-6C3B-56CD0F7425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4F71A-BC95-4A31-BE40-F84E60E4A8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264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9A9C49-4D15-B702-75CF-FC7236B2F5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A097B6-B20C-CA3E-7F70-D04587BFB5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00591D-C7A1-DD37-9680-398436773B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1AD80-2AF3-4DCE-97C2-54898F7C5FFA}" type="datetimeFigureOut">
              <a:rPr lang="en-US" smtClean="0"/>
              <a:t>6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6B30F1-BA17-629B-B53F-555D45AFDC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571413-A6D1-7DE3-3361-44379CAAF1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4F71A-BC95-4A31-BE40-F84E60E4A8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7544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BCFCB5-770E-4BE7-F8AE-A59ADB793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802ED-F741-3003-4905-81ABC7ED155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7258C5-7DCC-4D14-A6D4-B683569FB7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7FBD85-3CF6-93A6-0D53-DA2593CA5A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1AD80-2AF3-4DCE-97C2-54898F7C5FFA}" type="datetimeFigureOut">
              <a:rPr lang="en-US" smtClean="0"/>
              <a:t>6/1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A7746C-3A19-CAD1-5246-9E375DA97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58ECDA-151A-EBE7-CE71-E8CD2D5FBA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4F71A-BC95-4A31-BE40-F84E60E4A8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9028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3E2C6C-114D-9632-CF0D-8B1EE4FD07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8BF27C-7A59-2123-D930-060E3793E8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CCA629-054E-35D9-714A-7B976EF601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D44498-1C61-5F51-3024-D87A64711AE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0604921-3DE1-89E3-61C2-BA7110425A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E3C8AF-1996-8CFC-3C99-CD5BEFCB1C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1AD80-2AF3-4DCE-97C2-54898F7C5FFA}" type="datetimeFigureOut">
              <a:rPr lang="en-US" smtClean="0"/>
              <a:t>6/14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95AFA92-2DCB-7EC8-486A-DB33E3879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8451CC-0DB2-F423-DA45-ED24CC5B2E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4F71A-BC95-4A31-BE40-F84E60E4A8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0155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2E3F3-BF22-3456-5729-62ABDC5AA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84B197-A635-3109-E1EC-56B4F83568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1AD80-2AF3-4DCE-97C2-54898F7C5FFA}" type="datetimeFigureOut">
              <a:rPr lang="en-US" smtClean="0"/>
              <a:t>6/1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8B1E07-D2E9-A271-B259-F325817E0C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1246B3-EFBA-DAB3-E25A-36B0B7D3E1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4F71A-BC95-4A31-BE40-F84E60E4A8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908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FEAA9C-6D62-996B-9CD6-661372BC81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1AD80-2AF3-4DCE-97C2-54898F7C5FFA}" type="datetimeFigureOut">
              <a:rPr lang="en-US" smtClean="0"/>
              <a:t>6/1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AA7DEC8-A088-5270-4EB6-A8BB550B71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A573A-DB52-85DB-D95B-6721E0082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4F71A-BC95-4A31-BE40-F84E60E4A8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8175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F862C0-7B44-CB82-A867-8FA5294EE3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1EEDBF-7B0F-4B5F-4C8E-571CD95EDD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2B70E4-D5B9-9C2C-269F-E015986B1D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3A7763-F2EA-4CDC-45F1-1294F4D28B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1AD80-2AF3-4DCE-97C2-54898F7C5FFA}" type="datetimeFigureOut">
              <a:rPr lang="en-US" smtClean="0"/>
              <a:t>6/1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2D6246-D4FD-D368-6608-394BDB456B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8A3202-D2FE-ABC5-7439-2F9378C39A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4F71A-BC95-4A31-BE40-F84E60E4A8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7846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98A2F7-53A8-D6FA-42C5-13360E324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8E583E-19CB-09C9-7E53-06D6DA46748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59301A-F440-102D-32A0-8ED09A294C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1393E8-4104-65DF-600B-43A0F6C4C9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1AD80-2AF3-4DCE-97C2-54898F7C5FFA}" type="datetimeFigureOut">
              <a:rPr lang="en-US" smtClean="0"/>
              <a:t>6/1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E99E34-D04D-17D6-BF48-C45A66E13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76F437-9808-190A-81B2-5F8DB4D7F9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4F71A-BC95-4A31-BE40-F84E60E4A8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73311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78DAE4-D831-488E-60F1-5AE99405B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AD6750-8BDA-A98A-38EC-B1C4B85BB1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86E003-440D-0E94-2E94-032E06579F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31AD80-2AF3-4DCE-97C2-54898F7C5FFA}" type="datetimeFigureOut">
              <a:rPr lang="en-US" smtClean="0"/>
              <a:t>6/1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8B962C-E76E-AAF7-57F4-E749338A9B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028343-8BA3-369A-A785-8E3B1341B5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64F71A-BC95-4A31-BE40-F84E60E4A8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898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3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3.bin"/><Relationship Id="rId5" Type="http://schemas.microsoft.com/office/2018/10/relationships/comments" Target="../comments/modernComment_D02_AA2A07D9.xml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3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4.bin"/><Relationship Id="rId5" Type="http://schemas.microsoft.com/office/2018/10/relationships/comments" Target="../comments/modernComment_D05_10B77F60.xml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5.bin"/><Relationship Id="rId5" Type="http://schemas.microsoft.com/office/2018/10/relationships/comments" Target="../comments/modernComment_D03_60296219.xml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1.emf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15.png"/><Relationship Id="rId5" Type="http://schemas.microsoft.com/office/2018/10/relationships/comments" Target="../comments/modernComment_174_53956658.xml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microsoft.com/office/2018/10/relationships/comments" Target="../comments/modernComment_D04_68EECF60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heart-disease/data-research/facts-stats/index.html" TargetMode="External"/><Relationship Id="rId2" Type="http://schemas.openxmlformats.org/officeDocument/2006/relationships/hyperlink" Target="https://www.heart.org/-/media/PHD-Files-2/Science-News/2/2024-Heart-and-Stroke-Stat-Update/2024-Statistics-At-A-Glance-final_2024.pdf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sciencedirect.com/science/article/abs/pii/S0933365722000549" TargetMode="External"/><Relationship Id="rId4" Type="http://schemas.openxmlformats.org/officeDocument/2006/relationships/hyperlink" Target="https://www.heart.org/en/health-topics/consumer-healthcare/what-is-cardiovascular-disease/heart-health-screenings#:~:text=Key%20screening%20tests%20for%20monitoring%20cardiovascular%20health%3A%201,4%20Blood%20glucose%205%20Smoking%2C%20physical%20activity%2C%20diet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44_33A518D8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microsoft.com/office/2018/10/relationships/comments" Target="../comments/modernComment_14D_7AAE638E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54_D899D66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D07_40CBF80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D08_3741B4A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18.xml"/><Relationship Id="rId7" Type="http://schemas.openxmlformats.org/officeDocument/2006/relationships/diagramData" Target="../diagrams/data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2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7.xml"/><Relationship Id="rId9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picture containing light, street, city&#10;&#10;Description automatically generated">
            <a:extLst>
              <a:ext uri="{FF2B5EF4-FFF2-40B4-BE49-F238E27FC236}">
                <a16:creationId xmlns:a16="http://schemas.microsoft.com/office/drawing/2014/main" id="{4B35F8A4-1FE9-124F-A041-C9185EB603D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E5F6FE0E-2B3E-3F4A-8779-4C17C0A5C43E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>
            <a:gsLst>
              <a:gs pos="50000">
                <a:schemeClr val="tx1">
                  <a:alpha val="0"/>
                </a:schemeClr>
              </a:gs>
              <a:gs pos="100000">
                <a:schemeClr val="tx1"/>
              </a:gs>
            </a:gsLst>
            <a:lin ang="8100000" scaled="1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78AB53D-ADB1-4CD5-9212-4159C7674CCD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D0CA88C7-1E44-4BB9-8D0A-DB5961A6E6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FA01FA3-BCA1-4594-8D24-59A0D95B67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7">
              <a:extLst>
                <a:ext uri="{FF2B5EF4-FFF2-40B4-BE49-F238E27FC236}">
                  <a16:creationId xmlns:a16="http://schemas.microsoft.com/office/drawing/2014/main" id="{E8829B3A-1282-435A-86FA-09E70E606A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FD023A96-AE32-468B-A3A3-CFB524455C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9">
              <a:extLst>
                <a:ext uri="{FF2B5EF4-FFF2-40B4-BE49-F238E27FC236}">
                  <a16:creationId xmlns:a16="http://schemas.microsoft.com/office/drawing/2014/main" id="{9D5B9DD2-95D4-4C34-8E70-743D7980C1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Rectangle 10">
              <a:extLst>
                <a:ext uri="{FF2B5EF4-FFF2-40B4-BE49-F238E27FC236}">
                  <a16:creationId xmlns:a16="http://schemas.microsoft.com/office/drawing/2014/main" id="{49FD3F71-3E36-4ABE-8703-F93A9CF13DE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1C41A0AD-3980-46B5-93AB-CE0FAABB0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E9579FE3-2E70-4EF8-8BB3-40B6793CD2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FFFE329C-3917-4F0A-B997-F5A121B1C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86476E0E-1087-4D40-90F0-DB64EA48A7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BF155E4A-7AD8-3F63-8A1E-DFCE998D0FF2}"/>
              </a:ext>
            </a:extLst>
          </p:cNvPr>
          <p:cNvSpPr txBox="1">
            <a:spLocks/>
          </p:cNvSpPr>
          <p:nvPr/>
        </p:nvSpPr>
        <p:spPr bwMode="gray">
          <a:xfrm>
            <a:off x="470120" y="5102124"/>
            <a:ext cx="5298675" cy="908898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bg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sz="2800">
                <a:latin typeface="+mj-lt"/>
                <a:ea typeface="Open Sans"/>
                <a:cs typeface="Calibri Light"/>
              </a:rPr>
              <a:t>AI Academy Apprenticeship</a:t>
            </a:r>
            <a:br>
              <a:rPr lang="en-US" sz="2800">
                <a:latin typeface="+mj-lt"/>
                <a:cs typeface="Calibri Light"/>
              </a:rPr>
            </a:br>
            <a:r>
              <a:rPr lang="en-US" sz="2800">
                <a:latin typeface="+mj-lt"/>
                <a:ea typeface="Open Sans"/>
                <a:cs typeface="Calibri Light"/>
              </a:rPr>
              <a:t>Cardiovascular Disease Prediction</a:t>
            </a:r>
            <a:endParaRPr lang="en-US" sz="2800">
              <a:ea typeface="Open Sans"/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C29EC0A-C510-DB0F-3650-4E9209A5792F}"/>
              </a:ext>
            </a:extLst>
          </p:cNvPr>
          <p:cNvSpPr txBox="1">
            <a:spLocks/>
          </p:cNvSpPr>
          <p:nvPr/>
        </p:nvSpPr>
        <p:spPr>
          <a:xfrm>
            <a:off x="475376" y="6013888"/>
            <a:ext cx="9832819" cy="53580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solidFill>
                  <a:srgbClr val="FFFFFF"/>
                </a:solidFill>
                <a:latin typeface="Calibri"/>
                <a:cs typeface="Calibri"/>
              </a:rPr>
              <a:t>By: Daniel Rice, Charles Averill, Leonardo Alvarado, Paola Santamaria, Aaron Zhu</a:t>
            </a:r>
            <a:endParaRPr lang="en-US">
              <a:solidFill>
                <a:srgbClr val="FFFFFF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07534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75B08DFC-9741-4869-8AB7-DB340A72AE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75B08DFC-9741-4869-8AB7-DB340A72A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1822B948-CF83-4C9A-B9B5-CADB9383931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/>
              <a:sym typeface="Chronicle Display Black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9C6C3C-DC16-46FA-9E48-A7B015DA9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972" y="162753"/>
            <a:ext cx="10363200" cy="594360"/>
          </a:xfrm>
        </p:spPr>
        <p:txBody>
          <a:bodyPr/>
          <a:lstStyle/>
          <a:p>
            <a:r>
              <a:rPr lang="en-US" sz="2400">
                <a:latin typeface="Open Sans Semibold"/>
                <a:ea typeface="Open Sans Semibold"/>
                <a:cs typeface="Open Sans Semibold"/>
              </a:rPr>
              <a:t>Data Understanding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E0694A2-99FD-449C-A2F5-10591191BEC9}"/>
              </a:ext>
            </a:extLst>
          </p:cNvPr>
          <p:cNvCxnSpPr/>
          <p:nvPr/>
        </p:nvCxnSpPr>
        <p:spPr>
          <a:xfrm flipH="1">
            <a:off x="5820648" y="5184471"/>
            <a:ext cx="786384" cy="0"/>
          </a:xfrm>
          <a:prstGeom prst="line">
            <a:avLst/>
          </a:prstGeom>
          <a:ln w="12700">
            <a:solidFill>
              <a:schemeClr val="accent5">
                <a:lumMod val="20000"/>
                <a:lumOff val="8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 descr="A graph of heart disease distribution&#10;&#10;Description automatically generated">
            <a:extLst>
              <a:ext uri="{FF2B5EF4-FFF2-40B4-BE49-F238E27FC236}">
                <a16:creationId xmlns:a16="http://schemas.microsoft.com/office/drawing/2014/main" id="{D71E5C38-7477-D841-76AD-1B702C2534F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5126" y="1626329"/>
            <a:ext cx="5042586" cy="394515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D6E9876-8D6E-6CD9-D5FC-63433A29E7E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03462" y="1610017"/>
            <a:ext cx="5043249" cy="396287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548812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5"/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75B08DFC-9741-4869-8AB7-DB340A72AE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75B08DFC-9741-4869-8AB7-DB340A72A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1822B948-CF83-4C9A-B9B5-CADB9383931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/>
              <a:sym typeface="Chronicle Display Black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9C6C3C-DC16-46FA-9E48-A7B015DA9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972" y="162753"/>
            <a:ext cx="10363200" cy="594360"/>
          </a:xfrm>
        </p:spPr>
        <p:txBody>
          <a:bodyPr/>
          <a:lstStyle/>
          <a:p>
            <a:r>
              <a:rPr lang="en-US" sz="2400">
                <a:latin typeface="Open Sans Semibold"/>
                <a:ea typeface="Open Sans Semibold"/>
                <a:cs typeface="Open Sans Semibold"/>
              </a:rPr>
              <a:t>Data Understanding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E0694A2-99FD-449C-A2F5-10591191BEC9}"/>
              </a:ext>
            </a:extLst>
          </p:cNvPr>
          <p:cNvCxnSpPr/>
          <p:nvPr/>
        </p:nvCxnSpPr>
        <p:spPr>
          <a:xfrm flipH="1">
            <a:off x="5820648" y="5184471"/>
            <a:ext cx="786384" cy="0"/>
          </a:xfrm>
          <a:prstGeom prst="line">
            <a:avLst/>
          </a:prstGeom>
          <a:ln w="12700">
            <a:solidFill>
              <a:schemeClr val="accent5">
                <a:lumMod val="20000"/>
                <a:lumOff val="8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graph with lines and numbers&#10;&#10;Description automatically generated">
            <a:extLst>
              <a:ext uri="{FF2B5EF4-FFF2-40B4-BE49-F238E27FC236}">
                <a16:creationId xmlns:a16="http://schemas.microsoft.com/office/drawing/2014/main" id="{1F29BB92-B64F-DBF0-E935-8704DD36F0D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3320" y="1720715"/>
            <a:ext cx="4823769" cy="366300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7" name="Picture 6" descr="A graph of a graph&#10;&#10;Description automatically generated">
            <a:extLst>
              <a:ext uri="{FF2B5EF4-FFF2-40B4-BE49-F238E27FC236}">
                <a16:creationId xmlns:a16="http://schemas.microsoft.com/office/drawing/2014/main" id="{F3CE33D0-6927-0F04-CD14-AA293FC8FCB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22417" y="1719647"/>
            <a:ext cx="6076814" cy="366583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04611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5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75B08DFC-9741-4869-8AB7-DB340A72AE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75B08DFC-9741-4869-8AB7-DB340A72A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1822B948-CF83-4C9A-B9B5-CADB9383931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/>
              <a:sym typeface="Chronicle Display Black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9C6C3C-DC16-46FA-9E48-A7B015DA9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972" y="162753"/>
            <a:ext cx="10363200" cy="594360"/>
          </a:xfrm>
        </p:spPr>
        <p:txBody>
          <a:bodyPr/>
          <a:lstStyle/>
          <a:p>
            <a:r>
              <a:rPr lang="en-US" sz="2400">
                <a:latin typeface="Open Sans Semibold"/>
                <a:ea typeface="Open Sans Semibold"/>
                <a:cs typeface="Open Sans Semibold"/>
              </a:rPr>
              <a:t>Data Understanding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E0694A2-99FD-449C-A2F5-10591191BEC9}"/>
              </a:ext>
            </a:extLst>
          </p:cNvPr>
          <p:cNvCxnSpPr/>
          <p:nvPr/>
        </p:nvCxnSpPr>
        <p:spPr>
          <a:xfrm flipH="1">
            <a:off x="5820648" y="5184471"/>
            <a:ext cx="786384" cy="0"/>
          </a:xfrm>
          <a:prstGeom prst="line">
            <a:avLst/>
          </a:prstGeom>
          <a:ln w="12700">
            <a:solidFill>
              <a:schemeClr val="accent5">
                <a:lumMod val="20000"/>
                <a:lumOff val="8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F2D5992B-3D46-9C31-1022-3B33D63632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24215" y="1622812"/>
            <a:ext cx="7743568" cy="362267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133248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5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>
            <a:extLst>
              <a:ext uri="{FF2B5EF4-FFF2-40B4-BE49-F238E27FC236}">
                <a16:creationId xmlns:a16="http://schemas.microsoft.com/office/drawing/2014/main" id="{77B5F5A7-C1DE-4001-86A0-4B1A3F50EF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1" name="Object 50" hidden="1">
                        <a:extLst>
                          <a:ext uri="{FF2B5EF4-FFF2-40B4-BE49-F238E27FC236}">
                            <a16:creationId xmlns:a16="http://schemas.microsoft.com/office/drawing/2014/main" id="{77B5F5A7-C1DE-4001-86A0-4B1A3F50EF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id="{C950F101-5460-4F7E-851E-C7DD92D38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/>
              <a:sym typeface="Chronicle Display Black"/>
            </a:endParaRPr>
          </a:p>
        </p:txBody>
      </p:sp>
      <p:sp>
        <p:nvSpPr>
          <p:cNvPr id="48" name="Title 47">
            <a:extLst>
              <a:ext uri="{FF2B5EF4-FFF2-40B4-BE49-F238E27FC236}">
                <a16:creationId xmlns:a16="http://schemas.microsoft.com/office/drawing/2014/main" id="{ECD0EF2F-CCC5-4EBC-9435-DB8EFE6184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863" y="291605"/>
            <a:ext cx="11252200" cy="505290"/>
          </a:xfrm>
        </p:spPr>
        <p:txBody>
          <a:bodyPr>
            <a:normAutofit/>
          </a:bodyPr>
          <a:lstStyle/>
          <a:p>
            <a:r>
              <a:rPr lang="en-US" sz="2400">
                <a:latin typeface="Open Sans"/>
                <a:ea typeface="Open Sans"/>
                <a:cs typeface="Open Sans"/>
              </a:rPr>
              <a:t>Model Selection</a:t>
            </a:r>
            <a:endParaRPr lang="en-US" sz="2400"/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3234BAF0-6512-4439-91C6-35DC95FB69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6712" y="806024"/>
            <a:ext cx="11290104" cy="47548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>
                <a:solidFill>
                  <a:srgbClr val="575757"/>
                </a:solidFill>
                <a:ea typeface="Calibri"/>
                <a:cs typeface="Calibri"/>
              </a:rPr>
              <a:t>After analyzing our data set and business case, we selected FIVE models to run our dataset on. These models were selected to best predict our classification dataset. </a:t>
            </a:r>
            <a:endParaRPr lang="en-US" spc="0">
              <a:solidFill>
                <a:srgbClr val="575757"/>
              </a:solidFill>
              <a:ea typeface="Calibri"/>
              <a:cs typeface="Calibri"/>
            </a:endParaRPr>
          </a:p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3CC1E21-C752-48A9-89F0-A8993097EE13}"/>
              </a:ext>
            </a:extLst>
          </p:cNvPr>
          <p:cNvSpPr/>
          <p:nvPr/>
        </p:nvSpPr>
        <p:spPr>
          <a:xfrm>
            <a:off x="674556" y="1946196"/>
            <a:ext cx="2029842" cy="4113151"/>
          </a:xfrm>
          <a:prstGeom prst="rect">
            <a:avLst/>
          </a:prstGeom>
          <a:noFill/>
          <a:ln w="222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defRPr/>
            </a:pPr>
            <a:r>
              <a:rPr lang="en-US" sz="1400" b="1" spc="300">
                <a:solidFill>
                  <a:srgbClr val="000000"/>
                </a:solidFill>
                <a:ea typeface="Verdana"/>
                <a:cs typeface="Verdana" panose="020B0604030504040204" pitchFamily="34" charset="0"/>
              </a:rPr>
              <a:t>LOGISTIC</a:t>
            </a:r>
          </a:p>
          <a:p>
            <a:pPr algn="ctr">
              <a:defRPr/>
            </a:pPr>
            <a:r>
              <a:rPr lang="en-US" sz="1400" b="1" spc="300">
                <a:solidFill>
                  <a:srgbClr val="000000"/>
                </a:solidFill>
                <a:ea typeface="Verdana"/>
                <a:cs typeface="Verdana" panose="020B0604030504040204" pitchFamily="34" charset="0"/>
              </a:rPr>
              <a:t> REGRESSION</a:t>
            </a:r>
            <a:endParaRPr lang="en-US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defRPr/>
            </a:pPr>
            <a:endParaRPr lang="en-US" sz="1100" b="1" spc="300">
              <a:solidFill>
                <a:srgbClr val="000000"/>
              </a:solidFill>
              <a:ea typeface="Verdana"/>
              <a:cs typeface="Verdana" panose="020B0604030504040204" pitchFamily="34" charset="0"/>
            </a:endParaRPr>
          </a:p>
          <a:p>
            <a:pPr marL="171450" indent="-171450">
              <a:buFont typeface="Arial"/>
              <a:buChar char="•"/>
              <a:defRPr/>
            </a:pPr>
            <a:r>
              <a:rPr lang="en-US" sz="1400">
                <a:solidFill>
                  <a:srgbClr val="000000"/>
                </a:solidFill>
                <a:ea typeface="Verdana"/>
                <a:cs typeface="Verdana" panose="020B0604030504040204" pitchFamily="34" charset="0"/>
              </a:rPr>
              <a:t>Simple to use</a:t>
            </a:r>
          </a:p>
          <a:p>
            <a:pPr>
              <a:defRPr/>
            </a:pPr>
            <a:endParaRPr lang="en-US" sz="1400">
              <a:solidFill>
                <a:srgbClr val="000000"/>
              </a:solidFill>
              <a:ea typeface="Verdana"/>
              <a:cs typeface="Verdana" panose="020B0604030504040204" pitchFamily="34" charset="0"/>
            </a:endParaRPr>
          </a:p>
          <a:p>
            <a:pPr marL="171450" indent="-171450">
              <a:buFont typeface="Arial"/>
              <a:buChar char="•"/>
              <a:defRPr/>
            </a:pPr>
            <a:r>
              <a:rPr lang="en-US" sz="1400">
                <a:solidFill>
                  <a:srgbClr val="000000"/>
                </a:solidFill>
                <a:ea typeface="Verdana"/>
                <a:cs typeface="Verdana" panose="020B0604030504040204" pitchFamily="34" charset="0"/>
              </a:rPr>
              <a:t>Efficiency</a:t>
            </a:r>
          </a:p>
          <a:p>
            <a:pPr>
              <a:defRPr/>
            </a:pPr>
            <a:endParaRPr lang="en-US" sz="1400">
              <a:solidFill>
                <a:srgbClr val="000000"/>
              </a:solidFill>
              <a:ea typeface="Verdana"/>
              <a:cs typeface="Verdana" panose="020B0604030504040204" pitchFamily="34" charset="0"/>
            </a:endParaRPr>
          </a:p>
          <a:p>
            <a:pPr marL="171450" indent="-171450">
              <a:buFont typeface="Arial"/>
              <a:buChar char="•"/>
              <a:defRPr/>
            </a:pPr>
            <a:r>
              <a:rPr lang="en-US" sz="1400">
                <a:solidFill>
                  <a:srgbClr val="000000"/>
                </a:solidFill>
                <a:ea typeface="Verdana"/>
                <a:cs typeface="Verdana" panose="020B0604030504040204" pitchFamily="34" charset="0"/>
              </a:rPr>
              <a:t>Explain the weight  of each variable</a:t>
            </a:r>
          </a:p>
          <a:p>
            <a:pPr>
              <a:defRPr/>
            </a:pPr>
            <a:endParaRPr lang="en-US" sz="1400">
              <a:solidFill>
                <a:srgbClr val="000000"/>
              </a:solidFill>
              <a:ea typeface="Verdana"/>
              <a:cs typeface="Verdana" panose="020B0604030504040204" pitchFamily="34" charset="0"/>
            </a:endParaRPr>
          </a:p>
          <a:p>
            <a:pPr marL="171450" indent="-171450">
              <a:buFont typeface="Arial"/>
              <a:buChar char="•"/>
              <a:defRPr/>
            </a:pPr>
            <a:r>
              <a:rPr lang="en-US" sz="1400">
                <a:solidFill>
                  <a:srgbClr val="000000"/>
                </a:solidFill>
                <a:ea typeface="Verdana"/>
                <a:cs typeface="Verdana" panose="020B0604030504040204" pitchFamily="34" charset="0"/>
              </a:rPr>
              <a:t>Easy to understand</a:t>
            </a:r>
            <a:endParaRPr lang="en-US" sz="14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B83E42-5D4E-4566-B887-1553F705FE73}"/>
              </a:ext>
            </a:extLst>
          </p:cNvPr>
          <p:cNvSpPr/>
          <p:nvPr/>
        </p:nvSpPr>
        <p:spPr>
          <a:xfrm>
            <a:off x="2902801" y="1946196"/>
            <a:ext cx="2029842" cy="4113151"/>
          </a:xfrm>
          <a:prstGeom prst="rect">
            <a:avLst/>
          </a:prstGeom>
          <a:noFill/>
          <a:ln w="222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defRPr/>
            </a:pPr>
            <a:r>
              <a:rPr lang="en-US" sz="1400" b="1" spc="300">
                <a:solidFill>
                  <a:srgbClr val="000000"/>
                </a:solidFill>
                <a:ea typeface="Verdana"/>
                <a:cs typeface="Verdana" panose="020B0604030504040204" pitchFamily="34" charset="0"/>
              </a:rPr>
              <a:t>NEURAL NETWORK</a:t>
            </a:r>
            <a:endParaRPr lang="en-US" sz="14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defRPr/>
            </a:pPr>
            <a:endParaRPr lang="en-US" sz="1100">
              <a:solidFill>
                <a:srgbClr val="000000"/>
              </a:solidFill>
              <a:ea typeface="Verdana"/>
              <a:cs typeface="Verdana" panose="020B0604030504040204" pitchFamily="34" charset="0"/>
            </a:endParaRPr>
          </a:p>
          <a:p>
            <a:pPr marL="171450" indent="-171450">
              <a:buFont typeface="Arial"/>
              <a:buChar char="•"/>
              <a:defRPr/>
            </a:pPr>
            <a:r>
              <a:rPr lang="en-US" sz="1400">
                <a:solidFill>
                  <a:srgbClr val="000000"/>
                </a:solidFill>
                <a:ea typeface="Verdana"/>
                <a:cs typeface="Verdana" panose="020B0604030504040204" pitchFamily="34" charset="0"/>
              </a:rPr>
              <a:t>Non-linearity</a:t>
            </a:r>
            <a:endParaRPr lang="en-US" sz="14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n-US" sz="1400">
              <a:solidFill>
                <a:srgbClr val="000000"/>
              </a:solidFill>
              <a:ea typeface="Verdana"/>
              <a:cs typeface="Verdana" panose="020B0604030504040204" pitchFamily="34" charset="0"/>
            </a:endParaRPr>
          </a:p>
          <a:p>
            <a:pPr marL="171450" indent="-171450">
              <a:buFont typeface="Arial"/>
              <a:buChar char="•"/>
              <a:defRPr/>
            </a:pPr>
            <a:r>
              <a:rPr lang="en-US" sz="1400">
                <a:solidFill>
                  <a:srgbClr val="000000"/>
                </a:solidFill>
                <a:ea typeface="Verdana"/>
                <a:cs typeface="Verdana" panose="020B0604030504040204" pitchFamily="34" charset="0"/>
              </a:rPr>
              <a:t>Better with high-dimensional data </a:t>
            </a:r>
            <a:endParaRPr lang="en-US" sz="14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n-US" sz="1400">
              <a:solidFill>
                <a:srgbClr val="000000"/>
              </a:solidFill>
              <a:ea typeface="Verdana"/>
              <a:cs typeface="Verdana" panose="020B0604030504040204" pitchFamily="34" charset="0"/>
            </a:endParaRPr>
          </a:p>
          <a:p>
            <a:pPr marL="171450" indent="-171450">
              <a:buFont typeface="Arial"/>
              <a:buChar char="•"/>
              <a:defRPr/>
            </a:pPr>
            <a:r>
              <a:rPr lang="en-US" sz="1400">
                <a:solidFill>
                  <a:srgbClr val="000000"/>
                </a:solidFill>
                <a:ea typeface="Verdana"/>
                <a:cs typeface="Verdana" panose="020B0604030504040204" pitchFamily="34" charset="0"/>
              </a:rPr>
              <a:t>Performance</a:t>
            </a:r>
            <a:endParaRPr lang="en-US" sz="14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n-US" sz="1400">
              <a:solidFill>
                <a:srgbClr val="000000"/>
              </a:solidFill>
              <a:ea typeface="Verdana"/>
              <a:cs typeface="Verdana" panose="020B0604030504040204" pitchFamily="34" charset="0"/>
            </a:endParaRPr>
          </a:p>
          <a:p>
            <a:pPr marL="171450" indent="-171450">
              <a:buFont typeface="Arial"/>
              <a:buChar char="•"/>
              <a:defRPr/>
            </a:pPr>
            <a:r>
              <a:rPr lang="en-US" sz="1400">
                <a:solidFill>
                  <a:srgbClr val="000000"/>
                </a:solidFill>
                <a:ea typeface="Verdana"/>
                <a:cs typeface="Verdana" panose="020B0604030504040204" pitchFamily="34" charset="0"/>
              </a:rPr>
              <a:t>Feature Interaction</a:t>
            </a:r>
            <a:endParaRPr lang="en-US" sz="11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algn="ctr">
              <a:buFont typeface="Arial"/>
              <a:buChar char="•"/>
              <a:defRPr/>
            </a:pPr>
            <a:endParaRPr lang="en-US" sz="11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35FF258-720F-4D65-A652-9DD7D733F544}"/>
              </a:ext>
            </a:extLst>
          </p:cNvPr>
          <p:cNvSpPr/>
          <p:nvPr/>
        </p:nvSpPr>
        <p:spPr>
          <a:xfrm>
            <a:off x="7359291" y="1946196"/>
            <a:ext cx="2029842" cy="4113151"/>
          </a:xfrm>
          <a:prstGeom prst="rect">
            <a:avLst/>
          </a:prstGeom>
          <a:noFill/>
          <a:ln w="222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defRPr/>
            </a:pPr>
            <a:r>
              <a:rPr lang="en-US" sz="1400" b="1" spc="300">
                <a:solidFill>
                  <a:srgbClr val="000000"/>
                </a:solidFill>
                <a:ea typeface="Verdana"/>
                <a:cs typeface="Verdana" panose="020B0604030504040204" pitchFamily="34" charset="0"/>
              </a:rPr>
              <a:t>RANDOM FOREST CLASSIFIER</a:t>
            </a:r>
            <a:endParaRPr lang="en-US" sz="14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marR="0" lvl="0" indent="-171450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1100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  <a:defRPr/>
            </a:pPr>
            <a:endParaRPr lang="en-US" sz="1100" spc="300">
              <a:solidFill>
                <a:srgbClr val="000000"/>
              </a:solidFill>
              <a:ea typeface="Verdana"/>
            </a:endParaRPr>
          </a:p>
          <a:p>
            <a:pPr marL="171450" indent="-171450">
              <a:buFont typeface="Arial"/>
              <a:buChar char="•"/>
              <a:defRPr/>
            </a:pPr>
            <a:r>
              <a:rPr lang="en-US" sz="1400">
                <a:solidFill>
                  <a:srgbClr val="000000"/>
                </a:solidFill>
                <a:ea typeface="Verdana"/>
              </a:rPr>
              <a:t>High Accuracy</a:t>
            </a:r>
            <a:endParaRPr lang="en-US" sz="1400">
              <a:solidFill>
                <a:srgbClr val="000000"/>
              </a:solidFill>
              <a:ea typeface="Verdana"/>
              <a:cs typeface="Calibri"/>
            </a:endParaRPr>
          </a:p>
          <a:p>
            <a:pPr>
              <a:defRPr/>
            </a:pPr>
            <a:endParaRPr lang="en-US" sz="1400">
              <a:solidFill>
                <a:srgbClr val="000000"/>
              </a:solidFill>
              <a:ea typeface="Verdana"/>
              <a:cs typeface="Calibri"/>
            </a:endParaRPr>
          </a:p>
          <a:p>
            <a:pPr marL="171450" indent="-171450">
              <a:buFont typeface="Arial"/>
              <a:buChar char="•"/>
              <a:defRPr/>
            </a:pPr>
            <a:r>
              <a:rPr lang="en-US" sz="1400">
                <a:solidFill>
                  <a:srgbClr val="000000"/>
                </a:solidFill>
                <a:ea typeface="Verdana"/>
                <a:cs typeface="Calibri"/>
              </a:rPr>
              <a:t>Feature Importance</a:t>
            </a:r>
          </a:p>
          <a:p>
            <a:pPr>
              <a:defRPr/>
            </a:pPr>
            <a:endParaRPr lang="en-US" sz="1400">
              <a:solidFill>
                <a:srgbClr val="000000"/>
              </a:solidFill>
              <a:ea typeface="Verdana"/>
              <a:cs typeface="Calibri"/>
            </a:endParaRPr>
          </a:p>
          <a:p>
            <a:pPr marL="171450" indent="-171450">
              <a:buFont typeface="Arial"/>
              <a:buChar char="•"/>
              <a:defRPr/>
            </a:pPr>
            <a:r>
              <a:rPr lang="en-US" sz="1400">
                <a:solidFill>
                  <a:srgbClr val="000000"/>
                </a:solidFill>
                <a:ea typeface="Verdana"/>
                <a:cs typeface="Calibri"/>
              </a:rPr>
              <a:t>Handling missing data</a:t>
            </a:r>
            <a:endParaRPr lang="en-US" sz="1400" b="0" i="0" u="none" strike="noStrike" kern="1200" cap="none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/>
              <a:cs typeface="Calibri"/>
            </a:endParaRPr>
          </a:p>
          <a:p>
            <a:pPr>
              <a:defRPr/>
            </a:pPr>
            <a:endParaRPr lang="en-US" sz="1400">
              <a:solidFill>
                <a:srgbClr val="000000"/>
              </a:solidFill>
              <a:ea typeface="Verdana"/>
              <a:cs typeface="Calibri"/>
            </a:endParaRPr>
          </a:p>
          <a:p>
            <a:pPr marL="171450" marR="0" lvl="0" indent="-17145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400">
                <a:solidFill>
                  <a:srgbClr val="000000"/>
                </a:solidFill>
                <a:ea typeface="Verdana"/>
                <a:cs typeface="Calibri"/>
              </a:rPr>
              <a:t>Scalability</a:t>
            </a:r>
            <a:endParaRPr lang="en-US" sz="1400" b="0" i="0" u="none" strike="noStrike" kern="1200" cap="none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/>
              <a:cs typeface="Calibr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1100" b="0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/>
              <a:cs typeface="Calibri"/>
            </a:endParaRPr>
          </a:p>
          <a:p>
            <a:pPr>
              <a:defRPr/>
            </a:pPr>
            <a:endParaRPr lang="en-US" sz="1100" spc="300">
              <a:solidFill>
                <a:srgbClr val="000000"/>
              </a:solidFill>
              <a:ea typeface="Calibri"/>
              <a:cs typeface="Calibri"/>
            </a:endParaRPr>
          </a:p>
          <a:p>
            <a:pPr>
              <a:defRPr/>
            </a:pPr>
            <a:endParaRPr lang="en-US" sz="1100" spc="300">
              <a:solidFill>
                <a:srgbClr val="000000"/>
              </a:solidFill>
              <a:ea typeface="Calibri"/>
              <a:cs typeface="Calibri"/>
            </a:endParaRPr>
          </a:p>
          <a:p>
            <a:pPr marL="171450" indent="-171450">
              <a:buFont typeface="Arial"/>
              <a:buChar char="•"/>
              <a:defRPr/>
            </a:pPr>
            <a:endParaRPr lang="en-US" sz="1100" spc="300">
              <a:solidFill>
                <a:srgbClr val="000000"/>
              </a:solidFill>
              <a:ea typeface="Calibri"/>
              <a:cs typeface="Calibri"/>
            </a:endParaRPr>
          </a:p>
          <a:p>
            <a:pPr>
              <a:defRPr/>
            </a:pPr>
            <a:endParaRPr lang="en-US" sz="800" spc="3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n-US" sz="800" spc="3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n-US" sz="600" spc="3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n-US" sz="600" spc="3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n-US" sz="600" spc="3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n-US" sz="600" spc="3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3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Verdana"/>
                <a:cs typeface="Verdana" panose="020B0604030504040204" pitchFamily="34" charset="0"/>
              </a:rPr>
              <a:t>	</a:t>
            </a:r>
            <a:endParaRPr lang="en-US" sz="800" b="0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DC7B1B1-D2BC-4F1D-A798-9C6C9654C1D6}"/>
              </a:ext>
            </a:extLst>
          </p:cNvPr>
          <p:cNvSpPr/>
          <p:nvPr/>
        </p:nvSpPr>
        <p:spPr>
          <a:xfrm>
            <a:off x="5131046" y="1946196"/>
            <a:ext cx="2029842" cy="4113151"/>
          </a:xfrm>
          <a:prstGeom prst="rect">
            <a:avLst/>
          </a:prstGeom>
          <a:noFill/>
          <a:ln w="222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defRPr/>
            </a:pPr>
            <a:r>
              <a:rPr lang="en-US" sz="1400" b="1" spc="300">
                <a:solidFill>
                  <a:srgbClr val="000000"/>
                </a:solidFill>
                <a:ea typeface="Verdana"/>
                <a:cs typeface="Verdana" panose="020B0604030504040204" pitchFamily="34" charset="0"/>
              </a:rPr>
              <a:t>DECISION TREE</a:t>
            </a:r>
            <a:endParaRPr lang="en-US" sz="14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7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500" i="1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900" b="0" i="1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900" i="1" spc="3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000000"/>
                </a:solidFill>
                <a:ea typeface="Verdana"/>
              </a:rPr>
              <a:t>Interpretability</a:t>
            </a:r>
            <a:endParaRPr lang="en-US" sz="1400">
              <a:solidFill>
                <a:srgbClr val="000000"/>
              </a:solidFill>
              <a:ea typeface="Verdana"/>
              <a:cs typeface="Calibri"/>
            </a:endParaRPr>
          </a:p>
          <a:p>
            <a:pPr>
              <a:defRPr/>
            </a:pPr>
            <a:endParaRPr lang="en-US" sz="1400">
              <a:solidFill>
                <a:srgbClr val="000000"/>
              </a:solidFill>
              <a:ea typeface="Verdana"/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000000"/>
                </a:solidFill>
                <a:ea typeface="Verdana"/>
                <a:cs typeface="Calibri"/>
              </a:rPr>
              <a:t>Non-linear Relationships</a:t>
            </a:r>
          </a:p>
          <a:p>
            <a:pPr>
              <a:defRPr/>
            </a:pPr>
            <a:endParaRPr lang="en-US" sz="1400">
              <a:solidFill>
                <a:srgbClr val="000000"/>
              </a:solidFill>
              <a:ea typeface="Verdana"/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000000"/>
                </a:solidFill>
                <a:ea typeface="Verdana"/>
                <a:cs typeface="Calibri"/>
              </a:rPr>
              <a:t>Feature Importance</a:t>
            </a:r>
          </a:p>
          <a:p>
            <a:pPr>
              <a:defRPr/>
            </a:pPr>
            <a:endParaRPr lang="en-US" sz="1400">
              <a:solidFill>
                <a:srgbClr val="000000"/>
              </a:solidFill>
              <a:ea typeface="Verdana"/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000000"/>
                </a:solidFill>
                <a:ea typeface="Verdana"/>
                <a:cs typeface="Calibri"/>
              </a:rPr>
              <a:t>Min data Prepara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0A8E7A7-9F8A-4245-A1D8-821AB0DD9666}"/>
              </a:ext>
            </a:extLst>
          </p:cNvPr>
          <p:cNvSpPr/>
          <p:nvPr/>
        </p:nvSpPr>
        <p:spPr>
          <a:xfrm>
            <a:off x="9587535" y="1946196"/>
            <a:ext cx="2029842" cy="4113151"/>
          </a:xfrm>
          <a:prstGeom prst="rect">
            <a:avLst/>
          </a:prstGeom>
          <a:noFill/>
          <a:ln w="222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defRPr/>
            </a:pPr>
            <a:endParaRPr lang="en-US" sz="1400" b="1" spc="300">
              <a:solidFill>
                <a:srgbClr val="000000"/>
              </a:solidFill>
              <a:ea typeface="Verdana"/>
              <a:cs typeface="Verdana" panose="020B0604030504040204" pitchFamily="34" charset="0"/>
            </a:endParaRPr>
          </a:p>
          <a:p>
            <a:pPr algn="ctr">
              <a:defRPr/>
            </a:pPr>
            <a:r>
              <a:rPr lang="en-US" sz="1400" b="1" spc="300">
                <a:solidFill>
                  <a:srgbClr val="000000"/>
                </a:solidFill>
                <a:ea typeface="Verdana"/>
                <a:cs typeface="Verdana" panose="020B0604030504040204" pitchFamily="34" charset="0"/>
              </a:rPr>
              <a:t>K NEIGHBORS</a:t>
            </a:r>
            <a:endParaRPr lang="en-US" sz="14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marR="0" lvl="0" indent="-171450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400">
                <a:solidFill>
                  <a:srgbClr val="000000"/>
                </a:solidFill>
                <a:ea typeface="Verdana"/>
              </a:rPr>
              <a:t>Simplicity</a:t>
            </a:r>
            <a:endParaRPr lang="en-US" sz="1400">
              <a:solidFill>
                <a:srgbClr val="000000"/>
              </a:solidFill>
              <a:ea typeface="Verdana"/>
              <a:cs typeface="Calibri"/>
            </a:endParaRPr>
          </a:p>
          <a:p>
            <a:pPr>
              <a:defRPr/>
            </a:pPr>
            <a:endParaRPr lang="en-US" sz="1400">
              <a:solidFill>
                <a:srgbClr val="000000"/>
              </a:solidFill>
              <a:ea typeface="Verdana"/>
              <a:cs typeface="Calibri"/>
            </a:endParaRPr>
          </a:p>
          <a:p>
            <a:pPr marL="171450" marR="0" lvl="0" indent="-17145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400">
                <a:solidFill>
                  <a:srgbClr val="000000"/>
                </a:solidFill>
                <a:ea typeface="Verdana"/>
                <a:cs typeface="Calibri"/>
              </a:rPr>
              <a:t>Non-parametric</a:t>
            </a:r>
            <a:endParaRPr lang="en-US" sz="1400" b="0" i="0" u="none" strike="noStrike" kern="1200" cap="none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/>
            </a:endParaRPr>
          </a:p>
          <a:p>
            <a:pPr>
              <a:defRPr/>
            </a:pPr>
            <a:endParaRPr lang="en-US" sz="1400">
              <a:solidFill>
                <a:srgbClr val="000000"/>
              </a:solidFill>
              <a:ea typeface="Verdana"/>
              <a:cs typeface="Calibri" panose="020F0502020204030204"/>
            </a:endParaRPr>
          </a:p>
          <a:p>
            <a:pPr marL="171450" marR="0" lvl="0" indent="-17145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400">
                <a:solidFill>
                  <a:srgbClr val="000000"/>
                </a:solidFill>
                <a:ea typeface="Verdana"/>
                <a:cs typeface="Calibri" panose="020F0502020204030204"/>
              </a:rPr>
              <a:t>Adaptability</a:t>
            </a:r>
            <a:endParaRPr lang="en-US" sz="1400" b="0" i="0" u="none" strike="noStrike" kern="1200" cap="none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/>
            </a:endParaRPr>
          </a:p>
          <a:p>
            <a:pPr>
              <a:defRPr/>
            </a:pPr>
            <a:endParaRPr lang="en-US" sz="1400">
              <a:solidFill>
                <a:srgbClr val="000000"/>
              </a:solidFill>
              <a:ea typeface="Verdana"/>
              <a:cs typeface="Calibri" panose="020F0502020204030204"/>
            </a:endParaRPr>
          </a:p>
          <a:p>
            <a:pPr marL="171450" indent="-171450">
              <a:buFont typeface="Arial"/>
              <a:buChar char="•"/>
              <a:defRPr/>
            </a:pPr>
            <a:r>
              <a:rPr lang="en-US" sz="1400">
                <a:solidFill>
                  <a:srgbClr val="000000"/>
                </a:solidFill>
                <a:ea typeface="Verdana"/>
                <a:cs typeface="Calibri" panose="020F0502020204030204"/>
              </a:rPr>
              <a:t>Local Patterns</a:t>
            </a:r>
            <a:endParaRPr lang="en-US" sz="1400" b="0" i="0" u="none" strike="noStrike" kern="1200" cap="none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="0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n-US" sz="800" spc="3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n-US" sz="600" spc="3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n-US" sz="600" spc="3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n-US" sz="600" spc="3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n-US" sz="600" spc="30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3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Verdana"/>
                <a:cs typeface="Verdana" panose="020B0604030504040204" pitchFamily="34" charset="0"/>
              </a:rPr>
              <a:t>	</a:t>
            </a:r>
            <a:endParaRPr lang="en-US" sz="800" b="0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/>
              <a:cs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30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3" name="Graphic 4">
            <a:extLst>
              <a:ext uri="{FF2B5EF4-FFF2-40B4-BE49-F238E27FC236}">
                <a16:creationId xmlns:a16="http://schemas.microsoft.com/office/drawing/2014/main" id="{EEB2ACD8-2E94-A14D-BB8D-D076B9FA7C9D}"/>
              </a:ext>
            </a:extLst>
          </p:cNvPr>
          <p:cNvGrpSpPr/>
          <p:nvPr/>
        </p:nvGrpSpPr>
        <p:grpSpPr>
          <a:xfrm>
            <a:off x="10259514" y="2260350"/>
            <a:ext cx="669856" cy="670413"/>
            <a:chOff x="467743" y="1402723"/>
            <a:chExt cx="361670" cy="361971"/>
          </a:xfrm>
          <a:solidFill>
            <a:schemeClr val="tx1"/>
          </a:solidFill>
        </p:grpSpPr>
        <p:sp>
          <p:nvSpPr>
            <p:cNvPr id="34" name="Graphic 4">
              <a:extLst>
                <a:ext uri="{FF2B5EF4-FFF2-40B4-BE49-F238E27FC236}">
                  <a16:creationId xmlns:a16="http://schemas.microsoft.com/office/drawing/2014/main" id="{B6FF45EF-4377-CF43-87DD-AE826621A3AD}"/>
                </a:ext>
              </a:extLst>
            </p:cNvPr>
            <p:cNvSpPr/>
            <p:nvPr/>
          </p:nvSpPr>
          <p:spPr>
            <a:xfrm>
              <a:off x="467743" y="1402723"/>
              <a:ext cx="361670" cy="361971"/>
            </a:xfrm>
            <a:custGeom>
              <a:avLst/>
              <a:gdLst>
                <a:gd name="connsiteX0" fmla="*/ 180835 w 361670"/>
                <a:gd name="connsiteY0" fmla="*/ 0 h 361971"/>
                <a:gd name="connsiteX1" fmla="*/ 0 w 361670"/>
                <a:gd name="connsiteY1" fmla="*/ 181305 h 361971"/>
                <a:gd name="connsiteX2" fmla="*/ 180835 w 361670"/>
                <a:gd name="connsiteY2" fmla="*/ 361972 h 361971"/>
                <a:gd name="connsiteX3" fmla="*/ 361670 w 361670"/>
                <a:gd name="connsiteY3" fmla="*/ 181305 h 361971"/>
                <a:gd name="connsiteX4" fmla="*/ 361670 w 361670"/>
                <a:gd name="connsiteY4" fmla="*/ 181305 h 361971"/>
                <a:gd name="connsiteX5" fmla="*/ 180835 w 361670"/>
                <a:gd name="connsiteY5" fmla="*/ 0 h 361971"/>
                <a:gd name="connsiteX6" fmla="*/ 180835 w 361670"/>
                <a:gd name="connsiteY6" fmla="*/ 0 h 361971"/>
                <a:gd name="connsiteX7" fmla="*/ 180835 w 361670"/>
                <a:gd name="connsiteY7" fmla="*/ 348565 h 361971"/>
                <a:gd name="connsiteX8" fmla="*/ 12780 w 361670"/>
                <a:gd name="connsiteY8" fmla="*/ 180028 h 361971"/>
                <a:gd name="connsiteX9" fmla="*/ 180835 w 361670"/>
                <a:gd name="connsiteY9" fmla="*/ 12130 h 361971"/>
                <a:gd name="connsiteX10" fmla="*/ 348891 w 361670"/>
                <a:gd name="connsiteY10" fmla="*/ 180028 h 361971"/>
                <a:gd name="connsiteX11" fmla="*/ 180835 w 361670"/>
                <a:gd name="connsiteY11" fmla="*/ 348565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1670" h="361971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1972"/>
                    <a:pt x="180835" y="361972"/>
                  </a:cubicBezTo>
                  <a:cubicBezTo>
                    <a:pt x="280518" y="361972"/>
                    <a:pt x="361670" y="280895"/>
                    <a:pt x="361670" y="181305"/>
                  </a:cubicBezTo>
                  <a:cubicBezTo>
                    <a:pt x="361670" y="181305"/>
                    <a:pt x="361670" y="181305"/>
                    <a:pt x="361670" y="181305"/>
                  </a:cubicBezTo>
                  <a:cubicBezTo>
                    <a:pt x="361670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180835" y="348565"/>
                  </a:moveTo>
                  <a:cubicBezTo>
                    <a:pt x="87542" y="348565"/>
                    <a:pt x="12780" y="273234"/>
                    <a:pt x="12780" y="180028"/>
                  </a:cubicBezTo>
                  <a:cubicBezTo>
                    <a:pt x="12780" y="86822"/>
                    <a:pt x="87542" y="12130"/>
                    <a:pt x="180835" y="12130"/>
                  </a:cubicBezTo>
                  <a:cubicBezTo>
                    <a:pt x="274128" y="12130"/>
                    <a:pt x="348891" y="87461"/>
                    <a:pt x="348891" y="180028"/>
                  </a:cubicBezTo>
                  <a:cubicBezTo>
                    <a:pt x="348891" y="273234"/>
                    <a:pt x="273489" y="348565"/>
                    <a:pt x="180835" y="34856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Graphic 4">
              <a:extLst>
                <a:ext uri="{FF2B5EF4-FFF2-40B4-BE49-F238E27FC236}">
                  <a16:creationId xmlns:a16="http://schemas.microsoft.com/office/drawing/2014/main" id="{8E78BB8A-7EC1-AE48-BC20-0AC7FDA626F5}"/>
                </a:ext>
              </a:extLst>
            </p:cNvPr>
            <p:cNvSpPr/>
            <p:nvPr/>
          </p:nvSpPr>
          <p:spPr>
            <a:xfrm>
              <a:off x="541227" y="1497366"/>
              <a:ext cx="214868" cy="171569"/>
            </a:xfrm>
            <a:custGeom>
              <a:avLst/>
              <a:gdLst>
                <a:gd name="connsiteX0" fmla="*/ 210868 w 214868"/>
                <a:gd name="connsiteY0" fmla="*/ 22184 h 171569"/>
                <a:gd name="connsiteX1" fmla="*/ 160387 w 214868"/>
                <a:gd name="connsiteY1" fmla="*/ 479 h 171569"/>
                <a:gd name="connsiteX2" fmla="*/ 155275 w 214868"/>
                <a:gd name="connsiteY2" fmla="*/ 479 h 171569"/>
                <a:gd name="connsiteX3" fmla="*/ 107351 w 214868"/>
                <a:gd name="connsiteY3" fmla="*/ 20908 h 171569"/>
                <a:gd name="connsiteX4" fmla="*/ 59426 w 214868"/>
                <a:gd name="connsiteY4" fmla="*/ 479 h 171569"/>
                <a:gd name="connsiteX5" fmla="*/ 54314 w 214868"/>
                <a:gd name="connsiteY5" fmla="*/ 479 h 171569"/>
                <a:gd name="connsiteX6" fmla="*/ 3834 w 214868"/>
                <a:gd name="connsiteY6" fmla="*/ 22184 h 171569"/>
                <a:gd name="connsiteX7" fmla="*/ 0 w 214868"/>
                <a:gd name="connsiteY7" fmla="*/ 27930 h 171569"/>
                <a:gd name="connsiteX8" fmla="*/ 0 w 214868"/>
                <a:gd name="connsiteY8" fmla="*/ 165186 h 171569"/>
                <a:gd name="connsiteX9" fmla="*/ 2556 w 214868"/>
                <a:gd name="connsiteY9" fmla="*/ 170293 h 171569"/>
                <a:gd name="connsiteX10" fmla="*/ 8946 w 214868"/>
                <a:gd name="connsiteY10" fmla="*/ 170931 h 171569"/>
                <a:gd name="connsiteX11" fmla="*/ 56870 w 214868"/>
                <a:gd name="connsiteY11" fmla="*/ 150502 h 171569"/>
                <a:gd name="connsiteX12" fmla="*/ 104795 w 214868"/>
                <a:gd name="connsiteY12" fmla="*/ 170931 h 171569"/>
                <a:gd name="connsiteX13" fmla="*/ 109907 w 214868"/>
                <a:gd name="connsiteY13" fmla="*/ 170931 h 171569"/>
                <a:gd name="connsiteX14" fmla="*/ 157831 w 214868"/>
                <a:gd name="connsiteY14" fmla="*/ 150502 h 171569"/>
                <a:gd name="connsiteX15" fmla="*/ 205756 w 214868"/>
                <a:gd name="connsiteY15" fmla="*/ 170931 h 171569"/>
                <a:gd name="connsiteX16" fmla="*/ 208312 w 214868"/>
                <a:gd name="connsiteY16" fmla="*/ 171569 h 171569"/>
                <a:gd name="connsiteX17" fmla="*/ 212146 w 214868"/>
                <a:gd name="connsiteY17" fmla="*/ 170293 h 171569"/>
                <a:gd name="connsiteX18" fmla="*/ 214702 w 214868"/>
                <a:gd name="connsiteY18" fmla="*/ 165186 h 171569"/>
                <a:gd name="connsiteX19" fmla="*/ 214702 w 214868"/>
                <a:gd name="connsiteY19" fmla="*/ 27930 h 171569"/>
                <a:gd name="connsiteX20" fmla="*/ 210868 w 214868"/>
                <a:gd name="connsiteY20" fmla="*/ 22184 h 171569"/>
                <a:gd name="connsiteX21" fmla="*/ 63260 w 214868"/>
                <a:gd name="connsiteY21" fmla="*/ 15800 h 171569"/>
                <a:gd name="connsiteX22" fmla="*/ 100961 w 214868"/>
                <a:gd name="connsiteY22" fmla="*/ 31760 h 171569"/>
                <a:gd name="connsiteX23" fmla="*/ 100961 w 214868"/>
                <a:gd name="connsiteY23" fmla="*/ 154971 h 171569"/>
                <a:gd name="connsiteX24" fmla="*/ 63260 w 214868"/>
                <a:gd name="connsiteY24" fmla="*/ 139011 h 171569"/>
                <a:gd name="connsiteX25" fmla="*/ 63260 w 214868"/>
                <a:gd name="connsiteY25" fmla="*/ 15800 h 171569"/>
                <a:gd name="connsiteX26" fmla="*/ 113741 w 214868"/>
                <a:gd name="connsiteY26" fmla="*/ 32399 h 171569"/>
                <a:gd name="connsiteX27" fmla="*/ 151442 w 214868"/>
                <a:gd name="connsiteY27" fmla="*/ 16439 h 171569"/>
                <a:gd name="connsiteX28" fmla="*/ 151442 w 214868"/>
                <a:gd name="connsiteY28" fmla="*/ 139650 h 171569"/>
                <a:gd name="connsiteX29" fmla="*/ 113741 w 214868"/>
                <a:gd name="connsiteY29" fmla="*/ 155610 h 171569"/>
                <a:gd name="connsiteX30" fmla="*/ 113741 w 214868"/>
                <a:gd name="connsiteY30" fmla="*/ 32399 h 171569"/>
                <a:gd name="connsiteX31" fmla="*/ 12141 w 214868"/>
                <a:gd name="connsiteY31" fmla="*/ 32399 h 171569"/>
                <a:gd name="connsiteX32" fmla="*/ 49842 w 214868"/>
                <a:gd name="connsiteY32" fmla="*/ 16439 h 171569"/>
                <a:gd name="connsiteX33" fmla="*/ 49842 w 214868"/>
                <a:gd name="connsiteY33" fmla="*/ 139650 h 171569"/>
                <a:gd name="connsiteX34" fmla="*/ 12141 w 214868"/>
                <a:gd name="connsiteY34" fmla="*/ 155610 h 171569"/>
                <a:gd name="connsiteX35" fmla="*/ 12141 w 214868"/>
                <a:gd name="connsiteY35" fmla="*/ 32399 h 171569"/>
                <a:gd name="connsiteX36" fmla="*/ 201922 w 214868"/>
                <a:gd name="connsiteY36" fmla="*/ 155610 h 171569"/>
                <a:gd name="connsiteX37" fmla="*/ 164221 w 214868"/>
                <a:gd name="connsiteY37" fmla="*/ 139650 h 171569"/>
                <a:gd name="connsiteX38" fmla="*/ 164221 w 214868"/>
                <a:gd name="connsiteY38" fmla="*/ 16439 h 171569"/>
                <a:gd name="connsiteX39" fmla="*/ 201922 w 214868"/>
                <a:gd name="connsiteY39" fmla="*/ 32399 h 171569"/>
                <a:gd name="connsiteX40" fmla="*/ 201922 w 214868"/>
                <a:gd name="connsiteY40" fmla="*/ 155610 h 17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14868" h="171569">
                  <a:moveTo>
                    <a:pt x="210868" y="22184"/>
                  </a:moveTo>
                  <a:lnTo>
                    <a:pt x="160387" y="479"/>
                  </a:lnTo>
                  <a:cubicBezTo>
                    <a:pt x="158470" y="-160"/>
                    <a:pt x="157192" y="-160"/>
                    <a:pt x="155275" y="479"/>
                  </a:cubicBezTo>
                  <a:lnTo>
                    <a:pt x="107351" y="20908"/>
                  </a:lnTo>
                  <a:lnTo>
                    <a:pt x="59426" y="479"/>
                  </a:lnTo>
                  <a:cubicBezTo>
                    <a:pt x="57509" y="-160"/>
                    <a:pt x="56231" y="-160"/>
                    <a:pt x="54314" y="479"/>
                  </a:cubicBezTo>
                  <a:lnTo>
                    <a:pt x="3834" y="22184"/>
                  </a:lnTo>
                  <a:cubicBezTo>
                    <a:pt x="1278" y="23461"/>
                    <a:pt x="0" y="25376"/>
                    <a:pt x="0" y="27930"/>
                  </a:cubicBezTo>
                  <a:lnTo>
                    <a:pt x="0" y="165186"/>
                  </a:lnTo>
                  <a:cubicBezTo>
                    <a:pt x="0" y="167101"/>
                    <a:pt x="1278" y="169654"/>
                    <a:pt x="2556" y="170293"/>
                  </a:cubicBezTo>
                  <a:cubicBezTo>
                    <a:pt x="4473" y="171569"/>
                    <a:pt x="7029" y="171569"/>
                    <a:pt x="8946" y="170931"/>
                  </a:cubicBezTo>
                  <a:lnTo>
                    <a:pt x="56870" y="150502"/>
                  </a:lnTo>
                  <a:lnTo>
                    <a:pt x="104795" y="170931"/>
                  </a:lnTo>
                  <a:cubicBezTo>
                    <a:pt x="106712" y="171569"/>
                    <a:pt x="107990" y="171569"/>
                    <a:pt x="109907" y="170931"/>
                  </a:cubicBezTo>
                  <a:lnTo>
                    <a:pt x="157831" y="150502"/>
                  </a:lnTo>
                  <a:lnTo>
                    <a:pt x="205756" y="170931"/>
                  </a:lnTo>
                  <a:cubicBezTo>
                    <a:pt x="206395" y="171569"/>
                    <a:pt x="207673" y="171569"/>
                    <a:pt x="208312" y="171569"/>
                  </a:cubicBezTo>
                  <a:cubicBezTo>
                    <a:pt x="209590" y="171569"/>
                    <a:pt x="210868" y="170931"/>
                    <a:pt x="212146" y="170293"/>
                  </a:cubicBezTo>
                  <a:cubicBezTo>
                    <a:pt x="214063" y="169016"/>
                    <a:pt x="215341" y="167101"/>
                    <a:pt x="214702" y="165186"/>
                  </a:cubicBezTo>
                  <a:lnTo>
                    <a:pt x="214702" y="27930"/>
                  </a:lnTo>
                  <a:cubicBezTo>
                    <a:pt x="215341" y="25376"/>
                    <a:pt x="213424" y="22823"/>
                    <a:pt x="210868" y="22184"/>
                  </a:cubicBezTo>
                  <a:close/>
                  <a:moveTo>
                    <a:pt x="63260" y="15800"/>
                  </a:moveTo>
                  <a:lnTo>
                    <a:pt x="100961" y="31760"/>
                  </a:lnTo>
                  <a:lnTo>
                    <a:pt x="100961" y="154971"/>
                  </a:lnTo>
                  <a:lnTo>
                    <a:pt x="63260" y="139011"/>
                  </a:lnTo>
                  <a:lnTo>
                    <a:pt x="63260" y="15800"/>
                  </a:lnTo>
                  <a:close/>
                  <a:moveTo>
                    <a:pt x="113741" y="32399"/>
                  </a:moveTo>
                  <a:lnTo>
                    <a:pt x="151442" y="16439"/>
                  </a:lnTo>
                  <a:lnTo>
                    <a:pt x="151442" y="139650"/>
                  </a:lnTo>
                  <a:lnTo>
                    <a:pt x="113741" y="155610"/>
                  </a:lnTo>
                  <a:lnTo>
                    <a:pt x="113741" y="32399"/>
                  </a:lnTo>
                  <a:close/>
                  <a:moveTo>
                    <a:pt x="12141" y="32399"/>
                  </a:moveTo>
                  <a:lnTo>
                    <a:pt x="49842" y="16439"/>
                  </a:lnTo>
                  <a:lnTo>
                    <a:pt x="49842" y="139650"/>
                  </a:lnTo>
                  <a:lnTo>
                    <a:pt x="12141" y="155610"/>
                  </a:lnTo>
                  <a:lnTo>
                    <a:pt x="12141" y="32399"/>
                  </a:lnTo>
                  <a:close/>
                  <a:moveTo>
                    <a:pt x="201922" y="155610"/>
                  </a:moveTo>
                  <a:lnTo>
                    <a:pt x="164221" y="139650"/>
                  </a:lnTo>
                  <a:lnTo>
                    <a:pt x="164221" y="16439"/>
                  </a:lnTo>
                  <a:lnTo>
                    <a:pt x="201922" y="32399"/>
                  </a:lnTo>
                  <a:lnTo>
                    <a:pt x="201922" y="15561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6" name="Graphic 4">
            <a:extLst>
              <a:ext uri="{FF2B5EF4-FFF2-40B4-BE49-F238E27FC236}">
                <a16:creationId xmlns:a16="http://schemas.microsoft.com/office/drawing/2014/main" id="{C6CCDA0F-EEB5-8046-8E96-0EA839089C39}"/>
              </a:ext>
            </a:extLst>
          </p:cNvPr>
          <p:cNvGrpSpPr/>
          <p:nvPr/>
        </p:nvGrpSpPr>
        <p:grpSpPr>
          <a:xfrm>
            <a:off x="8035093" y="2260350"/>
            <a:ext cx="669856" cy="670413"/>
            <a:chOff x="6754802" y="2855717"/>
            <a:chExt cx="361670" cy="361971"/>
          </a:xfrm>
          <a:solidFill>
            <a:schemeClr val="tx1"/>
          </a:solidFill>
        </p:grpSpPr>
        <p:sp>
          <p:nvSpPr>
            <p:cNvPr id="37" name="Graphic 4">
              <a:extLst>
                <a:ext uri="{FF2B5EF4-FFF2-40B4-BE49-F238E27FC236}">
                  <a16:creationId xmlns:a16="http://schemas.microsoft.com/office/drawing/2014/main" id="{420FBEC3-6DF4-C545-9554-D9C5CC65803D}"/>
                </a:ext>
              </a:extLst>
            </p:cNvPr>
            <p:cNvSpPr/>
            <p:nvPr/>
          </p:nvSpPr>
          <p:spPr>
            <a:xfrm>
              <a:off x="6754802" y="2855717"/>
              <a:ext cx="361670" cy="361971"/>
            </a:xfrm>
            <a:custGeom>
              <a:avLst/>
              <a:gdLst>
                <a:gd name="connsiteX0" fmla="*/ 180836 w 361670"/>
                <a:gd name="connsiteY0" fmla="*/ 0 h 361971"/>
                <a:gd name="connsiteX1" fmla="*/ 0 w 361670"/>
                <a:gd name="connsiteY1" fmla="*/ 180667 h 361971"/>
                <a:gd name="connsiteX2" fmla="*/ 180836 w 361670"/>
                <a:gd name="connsiteY2" fmla="*/ 361972 h 361971"/>
                <a:gd name="connsiteX3" fmla="*/ 361670 w 361670"/>
                <a:gd name="connsiteY3" fmla="*/ 181305 h 361971"/>
                <a:gd name="connsiteX4" fmla="*/ 361670 w 361670"/>
                <a:gd name="connsiteY4" fmla="*/ 181305 h 361971"/>
                <a:gd name="connsiteX5" fmla="*/ 180836 w 361670"/>
                <a:gd name="connsiteY5" fmla="*/ 0 h 361971"/>
                <a:gd name="connsiteX6" fmla="*/ 180836 w 361670"/>
                <a:gd name="connsiteY6" fmla="*/ 349204 h 361971"/>
                <a:gd name="connsiteX7" fmla="*/ 12780 w 361670"/>
                <a:gd name="connsiteY7" fmla="*/ 181305 h 361971"/>
                <a:gd name="connsiteX8" fmla="*/ 180836 w 361670"/>
                <a:gd name="connsiteY8" fmla="*/ 12768 h 361971"/>
                <a:gd name="connsiteX9" fmla="*/ 348890 w 361670"/>
                <a:gd name="connsiteY9" fmla="*/ 180667 h 361971"/>
                <a:gd name="connsiteX10" fmla="*/ 348890 w 361670"/>
                <a:gd name="connsiteY10" fmla="*/ 180667 h 361971"/>
                <a:gd name="connsiteX11" fmla="*/ 180836 w 361670"/>
                <a:gd name="connsiteY11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1670" h="361971">
                  <a:moveTo>
                    <a:pt x="180836" y="0"/>
                  </a:moveTo>
                  <a:cubicBezTo>
                    <a:pt x="80513" y="0"/>
                    <a:pt x="0" y="81076"/>
                    <a:pt x="0" y="180667"/>
                  </a:cubicBezTo>
                  <a:cubicBezTo>
                    <a:pt x="0" y="280895"/>
                    <a:pt x="81153" y="361972"/>
                    <a:pt x="180836" y="361972"/>
                  </a:cubicBezTo>
                  <a:cubicBezTo>
                    <a:pt x="281157" y="361972"/>
                    <a:pt x="361670" y="280895"/>
                    <a:pt x="361670" y="181305"/>
                  </a:cubicBezTo>
                  <a:cubicBezTo>
                    <a:pt x="361670" y="181305"/>
                    <a:pt x="361670" y="181305"/>
                    <a:pt x="361670" y="181305"/>
                  </a:cubicBezTo>
                  <a:cubicBezTo>
                    <a:pt x="361670" y="80438"/>
                    <a:pt x="280518" y="0"/>
                    <a:pt x="180836" y="0"/>
                  </a:cubicBezTo>
                  <a:close/>
                  <a:moveTo>
                    <a:pt x="180836" y="349204"/>
                  </a:moveTo>
                  <a:cubicBezTo>
                    <a:pt x="87543" y="349204"/>
                    <a:pt x="12780" y="273873"/>
                    <a:pt x="12780" y="181305"/>
                  </a:cubicBezTo>
                  <a:cubicBezTo>
                    <a:pt x="12780" y="88099"/>
                    <a:pt x="88181" y="12768"/>
                    <a:pt x="180836" y="12768"/>
                  </a:cubicBezTo>
                  <a:cubicBezTo>
                    <a:pt x="274128" y="12768"/>
                    <a:pt x="348890" y="88099"/>
                    <a:pt x="348890" y="180667"/>
                  </a:cubicBezTo>
                  <a:cubicBezTo>
                    <a:pt x="348890" y="180667"/>
                    <a:pt x="348890" y="180667"/>
                    <a:pt x="348890" y="180667"/>
                  </a:cubicBezTo>
                  <a:cubicBezTo>
                    <a:pt x="348890" y="273234"/>
                    <a:pt x="273490" y="348565"/>
                    <a:pt x="180836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Graphic 4">
              <a:extLst>
                <a:ext uri="{FF2B5EF4-FFF2-40B4-BE49-F238E27FC236}">
                  <a16:creationId xmlns:a16="http://schemas.microsoft.com/office/drawing/2014/main" id="{EBD7519D-FA3A-7C48-9AC4-B26F79408173}"/>
                </a:ext>
              </a:extLst>
            </p:cNvPr>
            <p:cNvSpPr/>
            <p:nvPr/>
          </p:nvSpPr>
          <p:spPr>
            <a:xfrm>
              <a:off x="6827617" y="2959422"/>
              <a:ext cx="214731" cy="129311"/>
            </a:xfrm>
            <a:custGeom>
              <a:avLst/>
              <a:gdLst>
                <a:gd name="connsiteX0" fmla="*/ 200035 w 214731"/>
                <a:gd name="connsiteY0" fmla="*/ 24614 h 129311"/>
                <a:gd name="connsiteX1" fmla="*/ 198757 w 214731"/>
                <a:gd name="connsiteY1" fmla="*/ 15676 h 129311"/>
                <a:gd name="connsiteX2" fmla="*/ 191089 w 214731"/>
                <a:gd name="connsiteY2" fmla="*/ 15676 h 129311"/>
                <a:gd name="connsiteX3" fmla="*/ 177671 w 214731"/>
                <a:gd name="connsiteY3" fmla="*/ 25891 h 129311"/>
                <a:gd name="connsiteX4" fmla="*/ 25590 w 214731"/>
                <a:gd name="connsiteY4" fmla="*/ 38020 h 129311"/>
                <a:gd name="connsiteX5" fmla="*/ 30 w 214731"/>
                <a:gd name="connsiteY5" fmla="*/ 108244 h 129311"/>
                <a:gd name="connsiteX6" fmla="*/ 6420 w 214731"/>
                <a:gd name="connsiteY6" fmla="*/ 114628 h 129311"/>
                <a:gd name="connsiteX7" fmla="*/ 12810 w 214731"/>
                <a:gd name="connsiteY7" fmla="*/ 108244 h 129311"/>
                <a:gd name="connsiteX8" fmla="*/ 107381 w 214731"/>
                <a:gd name="connsiteY8" fmla="*/ 13123 h 129311"/>
                <a:gd name="connsiteX9" fmla="*/ 166807 w 214731"/>
                <a:gd name="connsiteY9" fmla="*/ 34190 h 129311"/>
                <a:gd name="connsiteX10" fmla="*/ 92684 w 214731"/>
                <a:gd name="connsiteY10" fmla="*/ 91007 h 129311"/>
                <a:gd name="connsiteX11" fmla="*/ 92045 w 214731"/>
                <a:gd name="connsiteY11" fmla="*/ 91646 h 129311"/>
                <a:gd name="connsiteX12" fmla="*/ 92045 w 214731"/>
                <a:gd name="connsiteY12" fmla="*/ 122927 h 129311"/>
                <a:gd name="connsiteX13" fmla="*/ 107381 w 214731"/>
                <a:gd name="connsiteY13" fmla="*/ 129311 h 129311"/>
                <a:gd name="connsiteX14" fmla="*/ 107381 w 214731"/>
                <a:gd name="connsiteY14" fmla="*/ 129311 h 129311"/>
                <a:gd name="connsiteX15" fmla="*/ 122717 w 214731"/>
                <a:gd name="connsiteY15" fmla="*/ 122927 h 129311"/>
                <a:gd name="connsiteX16" fmla="*/ 123356 w 214731"/>
                <a:gd name="connsiteY16" fmla="*/ 122289 h 129311"/>
                <a:gd name="connsiteX17" fmla="*/ 180866 w 214731"/>
                <a:gd name="connsiteY17" fmla="*/ 48873 h 129311"/>
                <a:gd name="connsiteX18" fmla="*/ 201952 w 214731"/>
                <a:gd name="connsiteY18" fmla="*/ 108882 h 129311"/>
                <a:gd name="connsiteX19" fmla="*/ 208342 w 214731"/>
                <a:gd name="connsiteY19" fmla="*/ 115266 h 129311"/>
                <a:gd name="connsiteX20" fmla="*/ 214732 w 214731"/>
                <a:gd name="connsiteY20" fmla="*/ 108882 h 129311"/>
                <a:gd name="connsiteX21" fmla="*/ 188533 w 214731"/>
                <a:gd name="connsiteY21" fmla="*/ 38659 h 129311"/>
                <a:gd name="connsiteX22" fmla="*/ 200035 w 214731"/>
                <a:gd name="connsiteY22" fmla="*/ 24614 h 129311"/>
                <a:gd name="connsiteX23" fmla="*/ 113771 w 214731"/>
                <a:gd name="connsiteY23" fmla="*/ 113351 h 129311"/>
                <a:gd name="connsiteX24" fmla="*/ 107381 w 214731"/>
                <a:gd name="connsiteY24" fmla="*/ 115905 h 129311"/>
                <a:gd name="connsiteX25" fmla="*/ 107381 w 214731"/>
                <a:gd name="connsiteY25" fmla="*/ 115905 h 129311"/>
                <a:gd name="connsiteX26" fmla="*/ 100991 w 214731"/>
                <a:gd name="connsiteY26" fmla="*/ 113351 h 129311"/>
                <a:gd name="connsiteX27" fmla="*/ 100991 w 214731"/>
                <a:gd name="connsiteY27" fmla="*/ 100583 h 129311"/>
                <a:gd name="connsiteX28" fmla="*/ 158501 w 214731"/>
                <a:gd name="connsiteY28" fmla="*/ 56534 h 129311"/>
                <a:gd name="connsiteX29" fmla="*/ 113771 w 214731"/>
                <a:gd name="connsiteY29" fmla="*/ 113351 h 129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14731" h="129311">
                  <a:moveTo>
                    <a:pt x="200035" y="24614"/>
                  </a:moveTo>
                  <a:cubicBezTo>
                    <a:pt x="201952" y="22060"/>
                    <a:pt x="201313" y="17592"/>
                    <a:pt x="198757" y="15676"/>
                  </a:cubicBezTo>
                  <a:cubicBezTo>
                    <a:pt x="196201" y="13761"/>
                    <a:pt x="193645" y="13761"/>
                    <a:pt x="191089" y="15676"/>
                  </a:cubicBezTo>
                  <a:lnTo>
                    <a:pt x="177671" y="25891"/>
                  </a:lnTo>
                  <a:cubicBezTo>
                    <a:pt x="132301" y="-13052"/>
                    <a:pt x="64568" y="-7306"/>
                    <a:pt x="25590" y="38020"/>
                  </a:cubicBezTo>
                  <a:cubicBezTo>
                    <a:pt x="8976" y="57811"/>
                    <a:pt x="-609" y="82070"/>
                    <a:pt x="30" y="108244"/>
                  </a:cubicBezTo>
                  <a:cubicBezTo>
                    <a:pt x="30" y="112074"/>
                    <a:pt x="2586" y="114628"/>
                    <a:pt x="6420" y="114628"/>
                  </a:cubicBezTo>
                  <a:cubicBezTo>
                    <a:pt x="10254" y="114628"/>
                    <a:pt x="12810" y="112074"/>
                    <a:pt x="12810" y="108244"/>
                  </a:cubicBezTo>
                  <a:cubicBezTo>
                    <a:pt x="12810" y="55895"/>
                    <a:pt x="54983" y="13123"/>
                    <a:pt x="107381" y="13123"/>
                  </a:cubicBezTo>
                  <a:cubicBezTo>
                    <a:pt x="129106" y="13123"/>
                    <a:pt x="150194" y="20784"/>
                    <a:pt x="166807" y="34190"/>
                  </a:cubicBezTo>
                  <a:lnTo>
                    <a:pt x="92684" y="91007"/>
                  </a:lnTo>
                  <a:lnTo>
                    <a:pt x="92045" y="91646"/>
                  </a:lnTo>
                  <a:cubicBezTo>
                    <a:pt x="83738" y="99945"/>
                    <a:pt x="83738" y="113990"/>
                    <a:pt x="92045" y="122927"/>
                  </a:cubicBezTo>
                  <a:cubicBezTo>
                    <a:pt x="95879" y="126758"/>
                    <a:pt x="101630" y="129311"/>
                    <a:pt x="107381" y="129311"/>
                  </a:cubicBezTo>
                  <a:lnTo>
                    <a:pt x="107381" y="129311"/>
                  </a:lnTo>
                  <a:cubicBezTo>
                    <a:pt x="113132" y="129311"/>
                    <a:pt x="118883" y="126758"/>
                    <a:pt x="122717" y="122927"/>
                  </a:cubicBezTo>
                  <a:lnTo>
                    <a:pt x="123356" y="122289"/>
                  </a:lnTo>
                  <a:lnTo>
                    <a:pt x="180866" y="48873"/>
                  </a:lnTo>
                  <a:cubicBezTo>
                    <a:pt x="194923" y="65471"/>
                    <a:pt x="201952" y="87177"/>
                    <a:pt x="201952" y="108882"/>
                  </a:cubicBezTo>
                  <a:cubicBezTo>
                    <a:pt x="201952" y="112713"/>
                    <a:pt x="204508" y="115266"/>
                    <a:pt x="208342" y="115266"/>
                  </a:cubicBezTo>
                  <a:cubicBezTo>
                    <a:pt x="212176" y="115266"/>
                    <a:pt x="214732" y="112713"/>
                    <a:pt x="214732" y="108882"/>
                  </a:cubicBezTo>
                  <a:cubicBezTo>
                    <a:pt x="214732" y="83347"/>
                    <a:pt x="205786" y="58449"/>
                    <a:pt x="188533" y="38659"/>
                  </a:cubicBezTo>
                  <a:lnTo>
                    <a:pt x="200035" y="24614"/>
                  </a:lnTo>
                  <a:close/>
                  <a:moveTo>
                    <a:pt x="113771" y="113351"/>
                  </a:moveTo>
                  <a:cubicBezTo>
                    <a:pt x="111854" y="115266"/>
                    <a:pt x="109937" y="115905"/>
                    <a:pt x="107381" y="115905"/>
                  </a:cubicBezTo>
                  <a:lnTo>
                    <a:pt x="107381" y="115905"/>
                  </a:lnTo>
                  <a:cubicBezTo>
                    <a:pt x="104825" y="115905"/>
                    <a:pt x="102908" y="114628"/>
                    <a:pt x="100991" y="113351"/>
                  </a:cubicBezTo>
                  <a:cubicBezTo>
                    <a:pt x="97796" y="109521"/>
                    <a:pt x="97796" y="104414"/>
                    <a:pt x="100991" y="100583"/>
                  </a:cubicBezTo>
                  <a:lnTo>
                    <a:pt x="158501" y="56534"/>
                  </a:lnTo>
                  <a:lnTo>
                    <a:pt x="113771" y="11335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Graphic 4">
            <a:extLst>
              <a:ext uri="{FF2B5EF4-FFF2-40B4-BE49-F238E27FC236}">
                <a16:creationId xmlns:a16="http://schemas.microsoft.com/office/drawing/2014/main" id="{BAC8D941-AE70-D34D-9496-2B7F30C95CA7}"/>
              </a:ext>
            </a:extLst>
          </p:cNvPr>
          <p:cNvGrpSpPr/>
          <p:nvPr/>
        </p:nvGrpSpPr>
        <p:grpSpPr>
          <a:xfrm>
            <a:off x="1351409" y="2260350"/>
            <a:ext cx="671039" cy="670413"/>
            <a:chOff x="2560447" y="1402723"/>
            <a:chExt cx="362309" cy="361971"/>
          </a:xfrm>
          <a:solidFill>
            <a:schemeClr val="tx1"/>
          </a:solidFill>
        </p:grpSpPr>
        <p:sp>
          <p:nvSpPr>
            <p:cNvPr id="40" name="Graphic 4">
              <a:extLst>
                <a:ext uri="{FF2B5EF4-FFF2-40B4-BE49-F238E27FC236}">
                  <a16:creationId xmlns:a16="http://schemas.microsoft.com/office/drawing/2014/main" id="{7D8D9E7F-C3B7-974D-A78B-6B9906E0BD85}"/>
                </a:ext>
              </a:extLst>
            </p:cNvPr>
            <p:cNvSpPr/>
            <p:nvPr/>
          </p:nvSpPr>
          <p:spPr>
            <a:xfrm>
              <a:off x="2560447" y="1402723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0835 w 362309"/>
                <a:gd name="connsiteY2" fmla="*/ 361972 h 361971"/>
                <a:gd name="connsiteX3" fmla="*/ 362309 w 362309"/>
                <a:gd name="connsiteY3" fmla="*/ 181305 h 361971"/>
                <a:gd name="connsiteX4" fmla="*/ 362309 w 362309"/>
                <a:gd name="connsiteY4" fmla="*/ 181305 h 361971"/>
                <a:gd name="connsiteX5" fmla="*/ 181474 w 362309"/>
                <a:gd name="connsiteY5" fmla="*/ 0 h 361971"/>
                <a:gd name="connsiteX6" fmla="*/ 181474 w 362309"/>
                <a:gd name="connsiteY6" fmla="*/ 348565 h 361971"/>
                <a:gd name="connsiteX7" fmla="*/ 12780 w 362309"/>
                <a:gd name="connsiteY7" fmla="*/ 180667 h 361971"/>
                <a:gd name="connsiteX8" fmla="*/ 180835 w 362309"/>
                <a:gd name="connsiteY8" fmla="*/ 12130 h 361971"/>
                <a:gd name="connsiteX9" fmla="*/ 349529 w 362309"/>
                <a:gd name="connsiteY9" fmla="*/ 180028 h 361971"/>
                <a:gd name="connsiteX10" fmla="*/ 349529 w 362309"/>
                <a:gd name="connsiteY10" fmla="*/ 180028 h 361971"/>
                <a:gd name="connsiteX11" fmla="*/ 181474 w 362309"/>
                <a:gd name="connsiteY11" fmla="*/ 348565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309" y="80438"/>
                    <a:pt x="281157" y="0"/>
                    <a:pt x="181474" y="0"/>
                  </a:cubicBezTo>
                  <a:close/>
                  <a:moveTo>
                    <a:pt x="181474" y="348565"/>
                  </a:moveTo>
                  <a:cubicBezTo>
                    <a:pt x="88181" y="348565"/>
                    <a:pt x="12780" y="273234"/>
                    <a:pt x="12780" y="180667"/>
                  </a:cubicBezTo>
                  <a:cubicBezTo>
                    <a:pt x="12780" y="88099"/>
                    <a:pt x="88181" y="12130"/>
                    <a:pt x="180835" y="12130"/>
                  </a:cubicBezTo>
                  <a:cubicBezTo>
                    <a:pt x="273489" y="12130"/>
                    <a:pt x="349529" y="87461"/>
                    <a:pt x="349529" y="180028"/>
                  </a:cubicBezTo>
                  <a:cubicBezTo>
                    <a:pt x="349529" y="180028"/>
                    <a:pt x="349529" y="180028"/>
                    <a:pt x="349529" y="180028"/>
                  </a:cubicBezTo>
                  <a:cubicBezTo>
                    <a:pt x="349529" y="273234"/>
                    <a:pt x="274128" y="348565"/>
                    <a:pt x="181474" y="34856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Graphic 4">
              <a:extLst>
                <a:ext uri="{FF2B5EF4-FFF2-40B4-BE49-F238E27FC236}">
                  <a16:creationId xmlns:a16="http://schemas.microsoft.com/office/drawing/2014/main" id="{D3D45733-2577-9142-9A63-0E832B9C7DBF}"/>
                </a:ext>
              </a:extLst>
            </p:cNvPr>
            <p:cNvSpPr/>
            <p:nvPr/>
          </p:nvSpPr>
          <p:spPr>
            <a:xfrm>
              <a:off x="2699748" y="1460162"/>
              <a:ext cx="84986" cy="117481"/>
            </a:xfrm>
            <a:custGeom>
              <a:avLst/>
              <a:gdLst>
                <a:gd name="connsiteX0" fmla="*/ 42813 w 84986"/>
                <a:gd name="connsiteY0" fmla="*/ 117482 h 117481"/>
                <a:gd name="connsiteX1" fmla="*/ 47925 w 84986"/>
                <a:gd name="connsiteY1" fmla="*/ 114928 h 117481"/>
                <a:gd name="connsiteX2" fmla="*/ 84986 w 84986"/>
                <a:gd name="connsiteY2" fmla="*/ 40874 h 117481"/>
                <a:gd name="connsiteX3" fmla="*/ 40896 w 84986"/>
                <a:gd name="connsiteY3" fmla="*/ 17 h 117481"/>
                <a:gd name="connsiteX4" fmla="*/ 0 w 84986"/>
                <a:gd name="connsiteY4" fmla="*/ 40874 h 117481"/>
                <a:gd name="connsiteX5" fmla="*/ 37062 w 84986"/>
                <a:gd name="connsiteY5" fmla="*/ 114928 h 117481"/>
                <a:gd name="connsiteX6" fmla="*/ 42813 w 84986"/>
                <a:gd name="connsiteY6" fmla="*/ 117482 h 117481"/>
                <a:gd name="connsiteX7" fmla="*/ 42813 w 84986"/>
                <a:gd name="connsiteY7" fmla="*/ 10869 h 117481"/>
                <a:gd name="connsiteX8" fmla="*/ 72206 w 84986"/>
                <a:gd name="connsiteY8" fmla="*/ 40236 h 117481"/>
                <a:gd name="connsiteX9" fmla="*/ 42813 w 84986"/>
                <a:gd name="connsiteY9" fmla="*/ 99607 h 117481"/>
                <a:gd name="connsiteX10" fmla="*/ 13419 w 84986"/>
                <a:gd name="connsiteY10" fmla="*/ 40236 h 117481"/>
                <a:gd name="connsiteX11" fmla="*/ 42813 w 84986"/>
                <a:gd name="connsiteY11" fmla="*/ 10869 h 117481"/>
                <a:gd name="connsiteX12" fmla="*/ 42813 w 84986"/>
                <a:gd name="connsiteY12" fmla="*/ 10869 h 117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4986" h="117481">
                  <a:moveTo>
                    <a:pt x="42813" y="117482"/>
                  </a:moveTo>
                  <a:cubicBezTo>
                    <a:pt x="44730" y="117482"/>
                    <a:pt x="46646" y="116205"/>
                    <a:pt x="47925" y="114928"/>
                  </a:cubicBezTo>
                  <a:cubicBezTo>
                    <a:pt x="51759" y="109821"/>
                    <a:pt x="84986" y="61941"/>
                    <a:pt x="84986" y="40874"/>
                  </a:cubicBezTo>
                  <a:cubicBezTo>
                    <a:pt x="84347" y="17253"/>
                    <a:pt x="64538" y="-622"/>
                    <a:pt x="40896" y="17"/>
                  </a:cubicBezTo>
                  <a:cubicBezTo>
                    <a:pt x="18531" y="655"/>
                    <a:pt x="1278" y="18530"/>
                    <a:pt x="0" y="40874"/>
                  </a:cubicBezTo>
                  <a:cubicBezTo>
                    <a:pt x="0" y="61941"/>
                    <a:pt x="33228" y="109821"/>
                    <a:pt x="37062" y="114928"/>
                  </a:cubicBezTo>
                  <a:cubicBezTo>
                    <a:pt x="38340" y="116843"/>
                    <a:pt x="40257" y="117482"/>
                    <a:pt x="42813" y="117482"/>
                  </a:cubicBezTo>
                  <a:close/>
                  <a:moveTo>
                    <a:pt x="42813" y="10869"/>
                  </a:moveTo>
                  <a:cubicBezTo>
                    <a:pt x="59426" y="10869"/>
                    <a:pt x="72206" y="24276"/>
                    <a:pt x="72206" y="40236"/>
                  </a:cubicBezTo>
                  <a:cubicBezTo>
                    <a:pt x="72206" y="51727"/>
                    <a:pt x="55593" y="79816"/>
                    <a:pt x="42813" y="99607"/>
                  </a:cubicBezTo>
                  <a:cubicBezTo>
                    <a:pt x="30033" y="79816"/>
                    <a:pt x="13419" y="51727"/>
                    <a:pt x="13419" y="40236"/>
                  </a:cubicBezTo>
                  <a:cubicBezTo>
                    <a:pt x="12780" y="24276"/>
                    <a:pt x="26199" y="10869"/>
                    <a:pt x="42813" y="10869"/>
                  </a:cubicBezTo>
                  <a:lnTo>
                    <a:pt x="42813" y="1086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Graphic 4">
              <a:extLst>
                <a:ext uri="{FF2B5EF4-FFF2-40B4-BE49-F238E27FC236}">
                  <a16:creationId xmlns:a16="http://schemas.microsoft.com/office/drawing/2014/main" id="{A0C3D6D7-49B6-E04F-A77D-C65A79A6CADA}"/>
                </a:ext>
              </a:extLst>
            </p:cNvPr>
            <p:cNvSpPr/>
            <p:nvPr/>
          </p:nvSpPr>
          <p:spPr>
            <a:xfrm>
              <a:off x="2621824" y="1557118"/>
              <a:ext cx="200733" cy="129692"/>
            </a:xfrm>
            <a:custGeom>
              <a:avLst/>
              <a:gdLst>
                <a:gd name="connsiteX0" fmla="*/ 145657 w 200733"/>
                <a:gd name="connsiteY0" fmla="*/ 43509 h 129692"/>
                <a:gd name="connsiteX1" fmla="*/ 196138 w 200733"/>
                <a:gd name="connsiteY1" fmla="*/ 38402 h 129692"/>
                <a:gd name="connsiteX2" fmla="*/ 200611 w 200733"/>
                <a:gd name="connsiteY2" fmla="*/ 24995 h 129692"/>
                <a:gd name="connsiteX3" fmla="*/ 155242 w 200733"/>
                <a:gd name="connsiteY3" fmla="*/ 98 h 129692"/>
                <a:gd name="connsiteX4" fmla="*/ 148213 w 200733"/>
                <a:gd name="connsiteY4" fmla="*/ 5843 h 129692"/>
                <a:gd name="connsiteX5" fmla="*/ 153964 w 200733"/>
                <a:gd name="connsiteY5" fmla="*/ 12866 h 129692"/>
                <a:gd name="connsiteX6" fmla="*/ 153964 w 200733"/>
                <a:gd name="connsiteY6" fmla="*/ 12866 h 129692"/>
                <a:gd name="connsiteX7" fmla="*/ 188470 w 200733"/>
                <a:gd name="connsiteY7" fmla="*/ 25634 h 129692"/>
                <a:gd name="connsiteX8" fmla="*/ 187831 w 200733"/>
                <a:gd name="connsiteY8" fmla="*/ 29464 h 129692"/>
                <a:gd name="connsiteX9" fmla="*/ 146935 w 200733"/>
                <a:gd name="connsiteY9" fmla="*/ 30741 h 129692"/>
                <a:gd name="connsiteX10" fmla="*/ 129682 w 200733"/>
                <a:gd name="connsiteY10" fmla="*/ 29464 h 129692"/>
                <a:gd name="connsiteX11" fmla="*/ 26804 w 200733"/>
                <a:gd name="connsiteY11" fmla="*/ 40317 h 129692"/>
                <a:gd name="connsiteX12" fmla="*/ 14025 w 200733"/>
                <a:gd name="connsiteY12" fmla="*/ 126501 h 129692"/>
                <a:gd name="connsiteX13" fmla="*/ 19136 w 200733"/>
                <a:gd name="connsiteY13" fmla="*/ 129693 h 129692"/>
                <a:gd name="connsiteX14" fmla="*/ 22331 w 200733"/>
                <a:gd name="connsiteY14" fmla="*/ 129054 h 129692"/>
                <a:gd name="connsiteX15" fmla="*/ 24248 w 200733"/>
                <a:gd name="connsiteY15" fmla="*/ 120117 h 129692"/>
                <a:gd name="connsiteX16" fmla="*/ 24248 w 200733"/>
                <a:gd name="connsiteY16" fmla="*/ 120117 h 129692"/>
                <a:gd name="connsiteX17" fmla="*/ 33194 w 200733"/>
                <a:gd name="connsiteY17" fmla="*/ 51170 h 129692"/>
                <a:gd name="connsiteX18" fmla="*/ 127765 w 200733"/>
                <a:gd name="connsiteY18" fmla="*/ 42232 h 129692"/>
                <a:gd name="connsiteX19" fmla="*/ 145657 w 200733"/>
                <a:gd name="connsiteY19" fmla="*/ 43509 h 129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0733" h="129692">
                  <a:moveTo>
                    <a:pt x="145657" y="43509"/>
                  </a:moveTo>
                  <a:cubicBezTo>
                    <a:pt x="178246" y="46062"/>
                    <a:pt x="189748" y="44786"/>
                    <a:pt x="196138" y="38402"/>
                  </a:cubicBezTo>
                  <a:cubicBezTo>
                    <a:pt x="199333" y="34571"/>
                    <a:pt x="201250" y="30102"/>
                    <a:pt x="200611" y="24995"/>
                  </a:cubicBezTo>
                  <a:cubicBezTo>
                    <a:pt x="199972" y="7120"/>
                    <a:pt x="165466" y="2013"/>
                    <a:pt x="155242" y="98"/>
                  </a:cubicBezTo>
                  <a:cubicBezTo>
                    <a:pt x="152047" y="-541"/>
                    <a:pt x="148852" y="2013"/>
                    <a:pt x="148213" y="5843"/>
                  </a:cubicBezTo>
                  <a:cubicBezTo>
                    <a:pt x="147574" y="9035"/>
                    <a:pt x="150130" y="12227"/>
                    <a:pt x="153964" y="12866"/>
                  </a:cubicBezTo>
                  <a:cubicBezTo>
                    <a:pt x="153964" y="12866"/>
                    <a:pt x="153964" y="12866"/>
                    <a:pt x="153964" y="12866"/>
                  </a:cubicBezTo>
                  <a:cubicBezTo>
                    <a:pt x="172495" y="15419"/>
                    <a:pt x="188470" y="21803"/>
                    <a:pt x="188470" y="25634"/>
                  </a:cubicBezTo>
                  <a:cubicBezTo>
                    <a:pt x="188470" y="27549"/>
                    <a:pt x="188470" y="28826"/>
                    <a:pt x="187831" y="29464"/>
                  </a:cubicBezTo>
                  <a:cubicBezTo>
                    <a:pt x="183358" y="33294"/>
                    <a:pt x="157798" y="32018"/>
                    <a:pt x="146935" y="30741"/>
                  </a:cubicBezTo>
                  <a:lnTo>
                    <a:pt x="129682" y="29464"/>
                  </a:lnTo>
                  <a:cubicBezTo>
                    <a:pt x="92621" y="26272"/>
                    <a:pt x="53642" y="23080"/>
                    <a:pt x="26804" y="40317"/>
                  </a:cubicBezTo>
                  <a:cubicBezTo>
                    <a:pt x="-3867" y="60107"/>
                    <a:pt x="-8340" y="91389"/>
                    <a:pt x="14025" y="126501"/>
                  </a:cubicBezTo>
                  <a:cubicBezTo>
                    <a:pt x="15303" y="128416"/>
                    <a:pt x="17220" y="129693"/>
                    <a:pt x="19136" y="129693"/>
                  </a:cubicBezTo>
                  <a:cubicBezTo>
                    <a:pt x="20414" y="129693"/>
                    <a:pt x="21693" y="129054"/>
                    <a:pt x="22331" y="129054"/>
                  </a:cubicBezTo>
                  <a:cubicBezTo>
                    <a:pt x="25526" y="127139"/>
                    <a:pt x="26165" y="123309"/>
                    <a:pt x="24248" y="120117"/>
                  </a:cubicBezTo>
                  <a:cubicBezTo>
                    <a:pt x="24248" y="120117"/>
                    <a:pt x="24248" y="120117"/>
                    <a:pt x="24248" y="120117"/>
                  </a:cubicBezTo>
                  <a:cubicBezTo>
                    <a:pt x="11469" y="99688"/>
                    <a:pt x="1884" y="70960"/>
                    <a:pt x="33194" y="51170"/>
                  </a:cubicBezTo>
                  <a:cubicBezTo>
                    <a:pt x="56198" y="36486"/>
                    <a:pt x="92621" y="39040"/>
                    <a:pt x="127765" y="42232"/>
                  </a:cubicBezTo>
                  <a:cubicBezTo>
                    <a:pt x="134155" y="42870"/>
                    <a:pt x="139906" y="43509"/>
                    <a:pt x="145657" y="4350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Graphic 4">
              <a:extLst>
                <a:ext uri="{FF2B5EF4-FFF2-40B4-BE49-F238E27FC236}">
                  <a16:creationId xmlns:a16="http://schemas.microsoft.com/office/drawing/2014/main" id="{719C1AB6-560B-5A40-9652-8FADCE832235}"/>
                </a:ext>
              </a:extLst>
            </p:cNvPr>
            <p:cNvSpPr/>
            <p:nvPr/>
          </p:nvSpPr>
          <p:spPr>
            <a:xfrm>
              <a:off x="2719341" y="1538702"/>
              <a:ext cx="142164" cy="170452"/>
            </a:xfrm>
            <a:custGeom>
              <a:avLst/>
              <a:gdLst>
                <a:gd name="connsiteX0" fmla="*/ 136322 w 142164"/>
                <a:gd name="connsiteY0" fmla="*/ 29366 h 170452"/>
                <a:gd name="connsiteX1" fmla="*/ 65393 w 142164"/>
                <a:gd name="connsiteY1" fmla="*/ 0 h 170452"/>
                <a:gd name="connsiteX2" fmla="*/ 58365 w 142164"/>
                <a:gd name="connsiteY2" fmla="*/ 5746 h 170452"/>
                <a:gd name="connsiteX3" fmla="*/ 64116 w 142164"/>
                <a:gd name="connsiteY3" fmla="*/ 12768 h 170452"/>
                <a:gd name="connsiteX4" fmla="*/ 125459 w 142164"/>
                <a:gd name="connsiteY4" fmla="*/ 37027 h 170452"/>
                <a:gd name="connsiteX5" fmla="*/ 128015 w 142164"/>
                <a:gd name="connsiteY5" fmla="*/ 56179 h 170452"/>
                <a:gd name="connsiteX6" fmla="*/ 89036 w 142164"/>
                <a:gd name="connsiteY6" fmla="*/ 82353 h 170452"/>
                <a:gd name="connsiteX7" fmla="*/ 45585 w 142164"/>
                <a:gd name="connsiteY7" fmla="*/ 86184 h 170452"/>
                <a:gd name="connsiteX8" fmla="*/ 27054 w 142164"/>
                <a:gd name="connsiteY8" fmla="*/ 86184 h 170452"/>
                <a:gd name="connsiteX9" fmla="*/ 2133 w 142164"/>
                <a:gd name="connsiteY9" fmla="*/ 106613 h 170452"/>
                <a:gd name="connsiteX10" fmla="*/ 25137 w 142164"/>
                <a:gd name="connsiteY10" fmla="*/ 168537 h 170452"/>
                <a:gd name="connsiteX11" fmla="*/ 34083 w 142164"/>
                <a:gd name="connsiteY11" fmla="*/ 168537 h 170452"/>
                <a:gd name="connsiteX12" fmla="*/ 34083 w 142164"/>
                <a:gd name="connsiteY12" fmla="*/ 159600 h 170452"/>
                <a:gd name="connsiteX13" fmla="*/ 34083 w 142164"/>
                <a:gd name="connsiteY13" fmla="*/ 159600 h 170452"/>
                <a:gd name="connsiteX14" fmla="*/ 14274 w 142164"/>
                <a:gd name="connsiteY14" fmla="*/ 111081 h 170452"/>
                <a:gd name="connsiteX15" fmla="*/ 28332 w 142164"/>
                <a:gd name="connsiteY15" fmla="*/ 99590 h 170452"/>
                <a:gd name="connsiteX16" fmla="*/ 44946 w 142164"/>
                <a:gd name="connsiteY16" fmla="*/ 99590 h 170452"/>
                <a:gd name="connsiteX17" fmla="*/ 90953 w 142164"/>
                <a:gd name="connsiteY17" fmla="*/ 95760 h 170452"/>
                <a:gd name="connsiteX18" fmla="*/ 139517 w 142164"/>
                <a:gd name="connsiteY18" fmla="*/ 60648 h 170452"/>
                <a:gd name="connsiteX19" fmla="*/ 136322 w 142164"/>
                <a:gd name="connsiteY19" fmla="*/ 29366 h 170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2164" h="170452">
                  <a:moveTo>
                    <a:pt x="136322" y="29366"/>
                  </a:moveTo>
                  <a:cubicBezTo>
                    <a:pt x="118430" y="4469"/>
                    <a:pt x="67950" y="0"/>
                    <a:pt x="65393" y="0"/>
                  </a:cubicBezTo>
                  <a:cubicBezTo>
                    <a:pt x="61560" y="0"/>
                    <a:pt x="59004" y="2554"/>
                    <a:pt x="58365" y="5746"/>
                  </a:cubicBezTo>
                  <a:cubicBezTo>
                    <a:pt x="58365" y="9576"/>
                    <a:pt x="60921" y="12130"/>
                    <a:pt x="64116" y="12768"/>
                  </a:cubicBezTo>
                  <a:cubicBezTo>
                    <a:pt x="76895" y="14045"/>
                    <a:pt x="113318" y="19790"/>
                    <a:pt x="125459" y="37027"/>
                  </a:cubicBezTo>
                  <a:cubicBezTo>
                    <a:pt x="129293" y="42773"/>
                    <a:pt x="130571" y="49795"/>
                    <a:pt x="128015" y="56179"/>
                  </a:cubicBezTo>
                  <a:cubicBezTo>
                    <a:pt x="124820" y="68309"/>
                    <a:pt x="109484" y="77885"/>
                    <a:pt x="89036" y="82353"/>
                  </a:cubicBezTo>
                  <a:cubicBezTo>
                    <a:pt x="74978" y="85545"/>
                    <a:pt x="60282" y="86184"/>
                    <a:pt x="45585" y="86184"/>
                  </a:cubicBezTo>
                  <a:cubicBezTo>
                    <a:pt x="39195" y="85545"/>
                    <a:pt x="33444" y="85545"/>
                    <a:pt x="27054" y="86184"/>
                  </a:cubicBezTo>
                  <a:cubicBezTo>
                    <a:pt x="15552" y="87461"/>
                    <a:pt x="5967" y="95121"/>
                    <a:pt x="2133" y="106613"/>
                  </a:cubicBezTo>
                  <a:cubicBezTo>
                    <a:pt x="-1062" y="114912"/>
                    <a:pt x="-4896" y="137894"/>
                    <a:pt x="25137" y="168537"/>
                  </a:cubicBezTo>
                  <a:cubicBezTo>
                    <a:pt x="27693" y="171091"/>
                    <a:pt x="31527" y="171091"/>
                    <a:pt x="34083" y="168537"/>
                  </a:cubicBezTo>
                  <a:cubicBezTo>
                    <a:pt x="36639" y="165984"/>
                    <a:pt x="36639" y="162153"/>
                    <a:pt x="34083" y="159600"/>
                  </a:cubicBezTo>
                  <a:lnTo>
                    <a:pt x="34083" y="159600"/>
                  </a:lnTo>
                  <a:cubicBezTo>
                    <a:pt x="16830" y="141724"/>
                    <a:pt x="9162" y="123849"/>
                    <a:pt x="14274" y="111081"/>
                  </a:cubicBezTo>
                  <a:cubicBezTo>
                    <a:pt x="16191" y="104697"/>
                    <a:pt x="21942" y="100229"/>
                    <a:pt x="28332" y="99590"/>
                  </a:cubicBezTo>
                  <a:cubicBezTo>
                    <a:pt x="34083" y="98952"/>
                    <a:pt x="39834" y="98952"/>
                    <a:pt x="44946" y="99590"/>
                  </a:cubicBezTo>
                  <a:cubicBezTo>
                    <a:pt x="60282" y="100229"/>
                    <a:pt x="75617" y="98952"/>
                    <a:pt x="90953" y="95760"/>
                  </a:cubicBezTo>
                  <a:cubicBezTo>
                    <a:pt x="116513" y="90653"/>
                    <a:pt x="135044" y="77246"/>
                    <a:pt x="139517" y="60648"/>
                  </a:cubicBezTo>
                  <a:cubicBezTo>
                    <a:pt x="143990" y="49795"/>
                    <a:pt x="142712" y="38304"/>
                    <a:pt x="136322" y="29366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4" name="Graphic 4">
            <a:extLst>
              <a:ext uri="{FF2B5EF4-FFF2-40B4-BE49-F238E27FC236}">
                <a16:creationId xmlns:a16="http://schemas.microsoft.com/office/drawing/2014/main" id="{1ADA81A2-D7EA-134F-86A1-A879A8BA4214}"/>
              </a:ext>
            </a:extLst>
          </p:cNvPr>
          <p:cNvGrpSpPr/>
          <p:nvPr/>
        </p:nvGrpSpPr>
        <p:grpSpPr>
          <a:xfrm>
            <a:off x="5814812" y="2260350"/>
            <a:ext cx="671046" cy="670413"/>
            <a:chOff x="5708130" y="1402723"/>
            <a:chExt cx="362313" cy="361971"/>
          </a:xfrm>
          <a:solidFill>
            <a:schemeClr val="tx1"/>
          </a:solidFill>
        </p:grpSpPr>
        <p:sp>
          <p:nvSpPr>
            <p:cNvPr id="45" name="Graphic 4">
              <a:extLst>
                <a:ext uri="{FF2B5EF4-FFF2-40B4-BE49-F238E27FC236}">
                  <a16:creationId xmlns:a16="http://schemas.microsoft.com/office/drawing/2014/main" id="{A5298AE9-B21C-BD40-833A-F20E6387E696}"/>
                </a:ext>
              </a:extLst>
            </p:cNvPr>
            <p:cNvSpPr/>
            <p:nvPr/>
          </p:nvSpPr>
          <p:spPr>
            <a:xfrm>
              <a:off x="5708130" y="1402723"/>
              <a:ext cx="362313" cy="361971"/>
            </a:xfrm>
            <a:custGeom>
              <a:avLst/>
              <a:gdLst>
                <a:gd name="connsiteX0" fmla="*/ 181474 w 362313"/>
                <a:gd name="connsiteY0" fmla="*/ 0 h 361971"/>
                <a:gd name="connsiteX1" fmla="*/ 0 w 362313"/>
                <a:gd name="connsiteY1" fmla="*/ 180667 h 361971"/>
                <a:gd name="connsiteX2" fmla="*/ 180835 w 362313"/>
                <a:gd name="connsiteY2" fmla="*/ 361972 h 361971"/>
                <a:gd name="connsiteX3" fmla="*/ 362310 w 362313"/>
                <a:gd name="connsiteY3" fmla="*/ 181305 h 361971"/>
                <a:gd name="connsiteX4" fmla="*/ 362310 w 362313"/>
                <a:gd name="connsiteY4" fmla="*/ 181305 h 361971"/>
                <a:gd name="connsiteX5" fmla="*/ 181474 w 362313"/>
                <a:gd name="connsiteY5" fmla="*/ 0 h 361971"/>
                <a:gd name="connsiteX6" fmla="*/ 181474 w 362313"/>
                <a:gd name="connsiteY6" fmla="*/ 348565 h 361971"/>
                <a:gd name="connsiteX7" fmla="*/ 12780 w 362313"/>
                <a:gd name="connsiteY7" fmla="*/ 180667 h 361971"/>
                <a:gd name="connsiteX8" fmla="*/ 180835 w 362313"/>
                <a:gd name="connsiteY8" fmla="*/ 12130 h 361971"/>
                <a:gd name="connsiteX9" fmla="*/ 349530 w 362313"/>
                <a:gd name="connsiteY9" fmla="*/ 180028 h 361971"/>
                <a:gd name="connsiteX10" fmla="*/ 349530 w 362313"/>
                <a:gd name="connsiteY10" fmla="*/ 180028 h 361971"/>
                <a:gd name="connsiteX11" fmla="*/ 181474 w 362313"/>
                <a:gd name="connsiteY11" fmla="*/ 348565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13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257"/>
                    <a:pt x="81152" y="361972"/>
                    <a:pt x="180835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948" y="80438"/>
                    <a:pt x="281796" y="0"/>
                    <a:pt x="181474" y="0"/>
                  </a:cubicBezTo>
                  <a:close/>
                  <a:moveTo>
                    <a:pt x="181474" y="348565"/>
                  </a:moveTo>
                  <a:cubicBezTo>
                    <a:pt x="88181" y="348565"/>
                    <a:pt x="12780" y="273234"/>
                    <a:pt x="12780" y="180667"/>
                  </a:cubicBezTo>
                  <a:cubicBezTo>
                    <a:pt x="12780" y="88099"/>
                    <a:pt x="88181" y="12130"/>
                    <a:pt x="180835" y="12130"/>
                  </a:cubicBezTo>
                  <a:cubicBezTo>
                    <a:pt x="274128" y="12130"/>
                    <a:pt x="349530" y="87461"/>
                    <a:pt x="349530" y="180028"/>
                  </a:cubicBezTo>
                  <a:lnTo>
                    <a:pt x="349530" y="180028"/>
                  </a:lnTo>
                  <a:cubicBezTo>
                    <a:pt x="349530" y="273234"/>
                    <a:pt x="274767" y="348565"/>
                    <a:pt x="181474" y="34856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Graphic 4">
              <a:extLst>
                <a:ext uri="{FF2B5EF4-FFF2-40B4-BE49-F238E27FC236}">
                  <a16:creationId xmlns:a16="http://schemas.microsoft.com/office/drawing/2014/main" id="{E7D04A5F-045F-B948-9F5A-2A23AE9F0118}"/>
                </a:ext>
              </a:extLst>
            </p:cNvPr>
            <p:cNvSpPr/>
            <p:nvPr/>
          </p:nvSpPr>
          <p:spPr>
            <a:xfrm>
              <a:off x="5939411" y="1644676"/>
              <a:ext cx="35179" cy="35111"/>
            </a:xfrm>
            <a:custGeom>
              <a:avLst/>
              <a:gdLst>
                <a:gd name="connsiteX0" fmla="*/ 17926 w 35179"/>
                <a:gd name="connsiteY0" fmla="*/ 0 h 35111"/>
                <a:gd name="connsiteX1" fmla="*/ 35 w 35179"/>
                <a:gd name="connsiteY1" fmla="*/ 17237 h 35111"/>
                <a:gd name="connsiteX2" fmla="*/ 17287 w 35179"/>
                <a:gd name="connsiteY2" fmla="*/ 35112 h 35111"/>
                <a:gd name="connsiteX3" fmla="*/ 35179 w 35179"/>
                <a:gd name="connsiteY3" fmla="*/ 17875 h 35111"/>
                <a:gd name="connsiteX4" fmla="*/ 35179 w 35179"/>
                <a:gd name="connsiteY4" fmla="*/ 17237 h 35111"/>
                <a:gd name="connsiteX5" fmla="*/ 17926 w 35179"/>
                <a:gd name="connsiteY5" fmla="*/ 0 h 35111"/>
                <a:gd name="connsiteX6" fmla="*/ 17926 w 35179"/>
                <a:gd name="connsiteY6" fmla="*/ 22344 h 35111"/>
                <a:gd name="connsiteX7" fmla="*/ 13453 w 35179"/>
                <a:gd name="connsiteY7" fmla="*/ 17875 h 35111"/>
                <a:gd name="connsiteX8" fmla="*/ 17926 w 35179"/>
                <a:gd name="connsiteY8" fmla="*/ 13406 h 35111"/>
                <a:gd name="connsiteX9" fmla="*/ 22399 w 35179"/>
                <a:gd name="connsiteY9" fmla="*/ 17875 h 35111"/>
                <a:gd name="connsiteX10" fmla="*/ 17926 w 35179"/>
                <a:gd name="connsiteY10" fmla="*/ 22344 h 35111"/>
                <a:gd name="connsiteX11" fmla="*/ 17926 w 35179"/>
                <a:gd name="connsiteY11" fmla="*/ 22344 h 3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179" h="35111">
                  <a:moveTo>
                    <a:pt x="17926" y="0"/>
                  </a:moveTo>
                  <a:cubicBezTo>
                    <a:pt x="8341" y="0"/>
                    <a:pt x="673" y="7661"/>
                    <a:pt x="35" y="17237"/>
                  </a:cubicBezTo>
                  <a:cubicBezTo>
                    <a:pt x="-604" y="26813"/>
                    <a:pt x="7703" y="34473"/>
                    <a:pt x="17287" y="35112"/>
                  </a:cubicBezTo>
                  <a:cubicBezTo>
                    <a:pt x="26872" y="35112"/>
                    <a:pt x="34540" y="27451"/>
                    <a:pt x="35179" y="17875"/>
                  </a:cubicBezTo>
                  <a:cubicBezTo>
                    <a:pt x="35179" y="17875"/>
                    <a:pt x="35179" y="17875"/>
                    <a:pt x="35179" y="17237"/>
                  </a:cubicBezTo>
                  <a:cubicBezTo>
                    <a:pt x="35179" y="7661"/>
                    <a:pt x="27511" y="0"/>
                    <a:pt x="17926" y="0"/>
                  </a:cubicBezTo>
                  <a:close/>
                  <a:moveTo>
                    <a:pt x="17926" y="22344"/>
                  </a:moveTo>
                  <a:cubicBezTo>
                    <a:pt x="15371" y="22344"/>
                    <a:pt x="13453" y="20429"/>
                    <a:pt x="13453" y="17875"/>
                  </a:cubicBezTo>
                  <a:cubicBezTo>
                    <a:pt x="13453" y="15322"/>
                    <a:pt x="15371" y="13406"/>
                    <a:pt x="17926" y="13406"/>
                  </a:cubicBezTo>
                  <a:cubicBezTo>
                    <a:pt x="20482" y="13406"/>
                    <a:pt x="22399" y="15322"/>
                    <a:pt x="22399" y="17875"/>
                  </a:cubicBezTo>
                  <a:cubicBezTo>
                    <a:pt x="22399" y="19790"/>
                    <a:pt x="20482" y="21706"/>
                    <a:pt x="17926" y="22344"/>
                  </a:cubicBezTo>
                  <a:lnTo>
                    <a:pt x="17926" y="2234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Graphic 4">
              <a:extLst>
                <a:ext uri="{FF2B5EF4-FFF2-40B4-BE49-F238E27FC236}">
                  <a16:creationId xmlns:a16="http://schemas.microsoft.com/office/drawing/2014/main" id="{0A43DCD6-5289-C74A-BB52-96BB161E18A8}"/>
                </a:ext>
              </a:extLst>
            </p:cNvPr>
            <p:cNvSpPr/>
            <p:nvPr/>
          </p:nvSpPr>
          <p:spPr>
            <a:xfrm>
              <a:off x="5807813" y="1644676"/>
              <a:ext cx="34505" cy="34473"/>
            </a:xfrm>
            <a:custGeom>
              <a:avLst/>
              <a:gdLst>
                <a:gd name="connsiteX0" fmla="*/ 17253 w 34505"/>
                <a:gd name="connsiteY0" fmla="*/ 0 h 34473"/>
                <a:gd name="connsiteX1" fmla="*/ 0 w 34505"/>
                <a:gd name="connsiteY1" fmla="*/ 17237 h 34473"/>
                <a:gd name="connsiteX2" fmla="*/ 17253 w 34505"/>
                <a:gd name="connsiteY2" fmla="*/ 34473 h 34473"/>
                <a:gd name="connsiteX3" fmla="*/ 34505 w 34505"/>
                <a:gd name="connsiteY3" fmla="*/ 17237 h 34473"/>
                <a:gd name="connsiteX4" fmla="*/ 34505 w 34505"/>
                <a:gd name="connsiteY4" fmla="*/ 17237 h 34473"/>
                <a:gd name="connsiteX5" fmla="*/ 17253 w 34505"/>
                <a:gd name="connsiteY5" fmla="*/ 0 h 34473"/>
                <a:gd name="connsiteX6" fmla="*/ 17253 w 34505"/>
                <a:gd name="connsiteY6" fmla="*/ 22344 h 34473"/>
                <a:gd name="connsiteX7" fmla="*/ 12780 w 34505"/>
                <a:gd name="connsiteY7" fmla="*/ 17875 h 34473"/>
                <a:gd name="connsiteX8" fmla="*/ 17253 w 34505"/>
                <a:gd name="connsiteY8" fmla="*/ 13406 h 34473"/>
                <a:gd name="connsiteX9" fmla="*/ 21726 w 34505"/>
                <a:gd name="connsiteY9" fmla="*/ 17875 h 34473"/>
                <a:gd name="connsiteX10" fmla="*/ 17253 w 34505"/>
                <a:gd name="connsiteY10" fmla="*/ 22344 h 34473"/>
                <a:gd name="connsiteX11" fmla="*/ 17253 w 34505"/>
                <a:gd name="connsiteY11" fmla="*/ 22344 h 34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505" h="34473">
                  <a:moveTo>
                    <a:pt x="17253" y="0"/>
                  </a:moveTo>
                  <a:cubicBezTo>
                    <a:pt x="7668" y="0"/>
                    <a:pt x="0" y="7661"/>
                    <a:pt x="0" y="17237"/>
                  </a:cubicBezTo>
                  <a:cubicBezTo>
                    <a:pt x="0" y="26813"/>
                    <a:pt x="7668" y="34473"/>
                    <a:pt x="17253" y="34473"/>
                  </a:cubicBezTo>
                  <a:cubicBezTo>
                    <a:pt x="26837" y="34473"/>
                    <a:pt x="34505" y="26813"/>
                    <a:pt x="34505" y="17237"/>
                  </a:cubicBezTo>
                  <a:cubicBezTo>
                    <a:pt x="34505" y="17237"/>
                    <a:pt x="34505" y="17237"/>
                    <a:pt x="34505" y="17237"/>
                  </a:cubicBezTo>
                  <a:cubicBezTo>
                    <a:pt x="34505" y="7661"/>
                    <a:pt x="26837" y="0"/>
                    <a:pt x="17253" y="0"/>
                  </a:cubicBezTo>
                  <a:close/>
                  <a:moveTo>
                    <a:pt x="17253" y="22344"/>
                  </a:moveTo>
                  <a:cubicBezTo>
                    <a:pt x="14697" y="22344"/>
                    <a:pt x="12780" y="20429"/>
                    <a:pt x="12780" y="17875"/>
                  </a:cubicBezTo>
                  <a:cubicBezTo>
                    <a:pt x="12780" y="15322"/>
                    <a:pt x="14697" y="13406"/>
                    <a:pt x="17253" y="13406"/>
                  </a:cubicBezTo>
                  <a:cubicBezTo>
                    <a:pt x="19809" y="13406"/>
                    <a:pt x="21726" y="15322"/>
                    <a:pt x="21726" y="17875"/>
                  </a:cubicBezTo>
                  <a:cubicBezTo>
                    <a:pt x="21726" y="19790"/>
                    <a:pt x="19809" y="21706"/>
                    <a:pt x="17253" y="22344"/>
                  </a:cubicBezTo>
                  <a:lnTo>
                    <a:pt x="17253" y="2234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Graphic 4">
              <a:extLst>
                <a:ext uri="{FF2B5EF4-FFF2-40B4-BE49-F238E27FC236}">
                  <a16:creationId xmlns:a16="http://schemas.microsoft.com/office/drawing/2014/main" id="{04E85287-EE09-D347-BE96-1ADB8B365D92}"/>
                </a:ext>
              </a:extLst>
            </p:cNvPr>
            <p:cNvSpPr/>
            <p:nvPr/>
          </p:nvSpPr>
          <p:spPr>
            <a:xfrm>
              <a:off x="5772030" y="1578283"/>
              <a:ext cx="233392" cy="85004"/>
            </a:xfrm>
            <a:custGeom>
              <a:avLst/>
              <a:gdLst>
                <a:gd name="connsiteX0" fmla="*/ 170611 w 233392"/>
                <a:gd name="connsiteY0" fmla="*/ 22344 h 85004"/>
                <a:gd name="connsiteX1" fmla="*/ 105434 w 233392"/>
                <a:gd name="connsiteY1" fmla="*/ 0 h 85004"/>
                <a:gd name="connsiteX2" fmla="*/ 103517 w 233392"/>
                <a:gd name="connsiteY2" fmla="*/ 0 h 85004"/>
                <a:gd name="connsiteX3" fmla="*/ 29394 w 233392"/>
                <a:gd name="connsiteY3" fmla="*/ 19790 h 85004"/>
                <a:gd name="connsiteX4" fmla="*/ 14697 w 233392"/>
                <a:gd name="connsiteY4" fmla="*/ 21706 h 85004"/>
                <a:gd name="connsiteX5" fmla="*/ 5112 w 233392"/>
                <a:gd name="connsiteY5" fmla="*/ 32558 h 85004"/>
                <a:gd name="connsiteX6" fmla="*/ 5112 w 233392"/>
                <a:gd name="connsiteY6" fmla="*/ 45326 h 85004"/>
                <a:gd name="connsiteX7" fmla="*/ 1917 w 233392"/>
                <a:gd name="connsiteY7" fmla="*/ 49795 h 85004"/>
                <a:gd name="connsiteX8" fmla="*/ 0 w 233392"/>
                <a:gd name="connsiteY8" fmla="*/ 56179 h 85004"/>
                <a:gd name="connsiteX9" fmla="*/ 0 w 233392"/>
                <a:gd name="connsiteY9" fmla="*/ 71500 h 85004"/>
                <a:gd name="connsiteX10" fmla="*/ 8307 w 233392"/>
                <a:gd name="connsiteY10" fmla="*/ 81715 h 85004"/>
                <a:gd name="connsiteX11" fmla="*/ 21087 w 233392"/>
                <a:gd name="connsiteY11" fmla="*/ 84907 h 85004"/>
                <a:gd name="connsiteX12" fmla="*/ 22365 w 233392"/>
                <a:gd name="connsiteY12" fmla="*/ 84907 h 85004"/>
                <a:gd name="connsiteX13" fmla="*/ 29394 w 233392"/>
                <a:gd name="connsiteY13" fmla="*/ 79161 h 85004"/>
                <a:gd name="connsiteX14" fmla="*/ 23643 w 233392"/>
                <a:gd name="connsiteY14" fmla="*/ 72139 h 85004"/>
                <a:gd name="connsiteX15" fmla="*/ 12141 w 233392"/>
                <a:gd name="connsiteY15" fmla="*/ 69585 h 85004"/>
                <a:gd name="connsiteX16" fmla="*/ 12141 w 233392"/>
                <a:gd name="connsiteY16" fmla="*/ 56179 h 85004"/>
                <a:gd name="connsiteX17" fmla="*/ 15975 w 233392"/>
                <a:gd name="connsiteY17" fmla="*/ 50433 h 85004"/>
                <a:gd name="connsiteX18" fmla="*/ 17253 w 233392"/>
                <a:gd name="connsiteY18" fmla="*/ 46603 h 85004"/>
                <a:gd name="connsiteX19" fmla="*/ 17253 w 233392"/>
                <a:gd name="connsiteY19" fmla="*/ 33835 h 85004"/>
                <a:gd name="connsiteX20" fmla="*/ 31950 w 233392"/>
                <a:gd name="connsiteY20" fmla="*/ 31920 h 85004"/>
                <a:gd name="connsiteX21" fmla="*/ 34506 w 233392"/>
                <a:gd name="connsiteY21" fmla="*/ 30643 h 85004"/>
                <a:gd name="connsiteX22" fmla="*/ 103517 w 233392"/>
                <a:gd name="connsiteY22" fmla="*/ 12130 h 85004"/>
                <a:gd name="connsiteX23" fmla="*/ 104795 w 233392"/>
                <a:gd name="connsiteY23" fmla="*/ 12130 h 85004"/>
                <a:gd name="connsiteX24" fmla="*/ 163583 w 233392"/>
                <a:gd name="connsiteY24" fmla="*/ 33197 h 85004"/>
                <a:gd name="connsiteX25" fmla="*/ 166778 w 233392"/>
                <a:gd name="connsiteY25" fmla="*/ 34473 h 85004"/>
                <a:gd name="connsiteX26" fmla="*/ 221092 w 233392"/>
                <a:gd name="connsiteY26" fmla="*/ 48518 h 85004"/>
                <a:gd name="connsiteX27" fmla="*/ 216619 w 233392"/>
                <a:gd name="connsiteY27" fmla="*/ 70224 h 85004"/>
                <a:gd name="connsiteX28" fmla="*/ 212146 w 233392"/>
                <a:gd name="connsiteY28" fmla="*/ 70862 h 85004"/>
                <a:gd name="connsiteX29" fmla="*/ 206395 w 233392"/>
                <a:gd name="connsiteY29" fmla="*/ 77884 h 85004"/>
                <a:gd name="connsiteX30" fmla="*/ 213424 w 233392"/>
                <a:gd name="connsiteY30" fmla="*/ 83630 h 85004"/>
                <a:gd name="connsiteX31" fmla="*/ 219175 w 233392"/>
                <a:gd name="connsiteY31" fmla="*/ 82992 h 85004"/>
                <a:gd name="connsiteX32" fmla="*/ 228121 w 233392"/>
                <a:gd name="connsiteY32" fmla="*/ 74692 h 85004"/>
                <a:gd name="connsiteX33" fmla="*/ 233233 w 233392"/>
                <a:gd name="connsiteY33" fmla="*/ 50433 h 85004"/>
                <a:gd name="connsiteX34" fmla="*/ 229399 w 233392"/>
                <a:gd name="connsiteY34" fmla="*/ 39581 h 85004"/>
                <a:gd name="connsiteX35" fmla="*/ 170611 w 233392"/>
                <a:gd name="connsiteY35" fmla="*/ 22344 h 85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33392" h="85004">
                  <a:moveTo>
                    <a:pt x="170611" y="22344"/>
                  </a:moveTo>
                  <a:cubicBezTo>
                    <a:pt x="152080" y="8299"/>
                    <a:pt x="129077" y="0"/>
                    <a:pt x="105434" y="0"/>
                  </a:cubicBezTo>
                  <a:lnTo>
                    <a:pt x="103517" y="0"/>
                  </a:lnTo>
                  <a:cubicBezTo>
                    <a:pt x="77318" y="0"/>
                    <a:pt x="51759" y="7022"/>
                    <a:pt x="29394" y="19790"/>
                  </a:cubicBezTo>
                  <a:lnTo>
                    <a:pt x="14697" y="21706"/>
                  </a:lnTo>
                  <a:cubicBezTo>
                    <a:pt x="9585" y="22344"/>
                    <a:pt x="5112" y="26813"/>
                    <a:pt x="5112" y="32558"/>
                  </a:cubicBezTo>
                  <a:lnTo>
                    <a:pt x="5112" y="45326"/>
                  </a:lnTo>
                  <a:lnTo>
                    <a:pt x="1917" y="49795"/>
                  </a:lnTo>
                  <a:cubicBezTo>
                    <a:pt x="639" y="51710"/>
                    <a:pt x="0" y="53625"/>
                    <a:pt x="0" y="56179"/>
                  </a:cubicBezTo>
                  <a:lnTo>
                    <a:pt x="0" y="71500"/>
                  </a:lnTo>
                  <a:cubicBezTo>
                    <a:pt x="0" y="76608"/>
                    <a:pt x="3834" y="81076"/>
                    <a:pt x="8307" y="81715"/>
                  </a:cubicBezTo>
                  <a:lnTo>
                    <a:pt x="21087" y="84907"/>
                  </a:lnTo>
                  <a:cubicBezTo>
                    <a:pt x="21726" y="84907"/>
                    <a:pt x="21726" y="84907"/>
                    <a:pt x="22365" y="84907"/>
                  </a:cubicBezTo>
                  <a:cubicBezTo>
                    <a:pt x="26199" y="85545"/>
                    <a:pt x="28755" y="82992"/>
                    <a:pt x="29394" y="79161"/>
                  </a:cubicBezTo>
                  <a:cubicBezTo>
                    <a:pt x="30033" y="75331"/>
                    <a:pt x="27477" y="72777"/>
                    <a:pt x="23643" y="72139"/>
                  </a:cubicBezTo>
                  <a:lnTo>
                    <a:pt x="12141" y="69585"/>
                  </a:lnTo>
                  <a:lnTo>
                    <a:pt x="12141" y="56179"/>
                  </a:lnTo>
                  <a:lnTo>
                    <a:pt x="15975" y="50433"/>
                  </a:lnTo>
                  <a:cubicBezTo>
                    <a:pt x="16614" y="49157"/>
                    <a:pt x="17253" y="47880"/>
                    <a:pt x="17253" y="46603"/>
                  </a:cubicBezTo>
                  <a:lnTo>
                    <a:pt x="17253" y="33835"/>
                  </a:lnTo>
                  <a:lnTo>
                    <a:pt x="31950" y="31920"/>
                  </a:lnTo>
                  <a:cubicBezTo>
                    <a:pt x="33228" y="31920"/>
                    <a:pt x="33867" y="31281"/>
                    <a:pt x="34506" y="30643"/>
                  </a:cubicBezTo>
                  <a:cubicBezTo>
                    <a:pt x="55593" y="17875"/>
                    <a:pt x="79235" y="11491"/>
                    <a:pt x="103517" y="12130"/>
                  </a:cubicBezTo>
                  <a:lnTo>
                    <a:pt x="104795" y="12130"/>
                  </a:lnTo>
                  <a:cubicBezTo>
                    <a:pt x="125882" y="12768"/>
                    <a:pt x="146969" y="19790"/>
                    <a:pt x="163583" y="33197"/>
                  </a:cubicBezTo>
                  <a:cubicBezTo>
                    <a:pt x="164860" y="33835"/>
                    <a:pt x="165500" y="34473"/>
                    <a:pt x="166778" y="34473"/>
                  </a:cubicBezTo>
                  <a:cubicBezTo>
                    <a:pt x="185308" y="36389"/>
                    <a:pt x="210229" y="40857"/>
                    <a:pt x="221092" y="48518"/>
                  </a:cubicBezTo>
                  <a:lnTo>
                    <a:pt x="216619" y="70224"/>
                  </a:lnTo>
                  <a:lnTo>
                    <a:pt x="212146" y="70862"/>
                  </a:lnTo>
                  <a:cubicBezTo>
                    <a:pt x="208312" y="71500"/>
                    <a:pt x="206395" y="74692"/>
                    <a:pt x="206395" y="77884"/>
                  </a:cubicBezTo>
                  <a:cubicBezTo>
                    <a:pt x="206395" y="81076"/>
                    <a:pt x="210229" y="83630"/>
                    <a:pt x="213424" y="83630"/>
                  </a:cubicBezTo>
                  <a:lnTo>
                    <a:pt x="219175" y="82992"/>
                  </a:lnTo>
                  <a:cubicBezTo>
                    <a:pt x="223648" y="82353"/>
                    <a:pt x="227482" y="79161"/>
                    <a:pt x="228121" y="74692"/>
                  </a:cubicBezTo>
                  <a:lnTo>
                    <a:pt x="233233" y="50433"/>
                  </a:lnTo>
                  <a:cubicBezTo>
                    <a:pt x="233872" y="46603"/>
                    <a:pt x="232594" y="42134"/>
                    <a:pt x="229399" y="39581"/>
                  </a:cubicBezTo>
                  <a:cubicBezTo>
                    <a:pt x="215980" y="28728"/>
                    <a:pt x="183391" y="23621"/>
                    <a:pt x="170611" y="2234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Graphic 4">
              <a:extLst>
                <a:ext uri="{FF2B5EF4-FFF2-40B4-BE49-F238E27FC236}">
                  <a16:creationId xmlns:a16="http://schemas.microsoft.com/office/drawing/2014/main" id="{8B589EFD-C51F-F44B-9DA3-DE7070FD97AA}"/>
                </a:ext>
              </a:extLst>
            </p:cNvPr>
            <p:cNvSpPr/>
            <p:nvPr/>
          </p:nvSpPr>
          <p:spPr>
            <a:xfrm>
              <a:off x="5848070" y="1653613"/>
              <a:ext cx="86902" cy="12767"/>
            </a:xfrm>
            <a:custGeom>
              <a:avLst/>
              <a:gdLst>
                <a:gd name="connsiteX0" fmla="*/ 80513 w 86902"/>
                <a:gd name="connsiteY0" fmla="*/ 0 h 12767"/>
                <a:gd name="connsiteX1" fmla="*/ 6390 w 86902"/>
                <a:gd name="connsiteY1" fmla="*/ 0 h 12767"/>
                <a:gd name="connsiteX2" fmla="*/ 0 w 86902"/>
                <a:gd name="connsiteY2" fmla="*/ 6384 h 12767"/>
                <a:gd name="connsiteX3" fmla="*/ 6390 w 86902"/>
                <a:gd name="connsiteY3" fmla="*/ 12768 h 12767"/>
                <a:gd name="connsiteX4" fmla="*/ 80513 w 86902"/>
                <a:gd name="connsiteY4" fmla="*/ 12768 h 12767"/>
                <a:gd name="connsiteX5" fmla="*/ 86903 w 86902"/>
                <a:gd name="connsiteY5" fmla="*/ 6384 h 12767"/>
                <a:gd name="connsiteX6" fmla="*/ 80513 w 86902"/>
                <a:gd name="connsiteY6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902" h="12767">
                  <a:moveTo>
                    <a:pt x="80513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80513" y="12768"/>
                  </a:lnTo>
                  <a:cubicBezTo>
                    <a:pt x="84347" y="12768"/>
                    <a:pt x="86903" y="10214"/>
                    <a:pt x="86903" y="6384"/>
                  </a:cubicBezTo>
                  <a:cubicBezTo>
                    <a:pt x="86903" y="2554"/>
                    <a:pt x="83708" y="0"/>
                    <a:pt x="80513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Graphic 4">
              <a:extLst>
                <a:ext uri="{FF2B5EF4-FFF2-40B4-BE49-F238E27FC236}">
                  <a16:creationId xmlns:a16="http://schemas.microsoft.com/office/drawing/2014/main" id="{1F7216D3-6AE0-F642-B66B-51B5450ABE9A}"/>
                </a:ext>
              </a:extLst>
            </p:cNvPr>
            <p:cNvSpPr/>
            <p:nvPr/>
          </p:nvSpPr>
          <p:spPr>
            <a:xfrm>
              <a:off x="5864045" y="1531006"/>
              <a:ext cx="33866" cy="33869"/>
            </a:xfrm>
            <a:custGeom>
              <a:avLst/>
              <a:gdLst>
                <a:gd name="connsiteX0" fmla="*/ 0 w 33866"/>
                <a:gd name="connsiteY0" fmla="*/ 16633 h 33869"/>
                <a:gd name="connsiteX1" fmla="*/ 17253 w 33866"/>
                <a:gd name="connsiteY1" fmla="*/ 33870 h 33869"/>
                <a:gd name="connsiteX2" fmla="*/ 33867 w 33866"/>
                <a:gd name="connsiteY2" fmla="*/ 17271 h 33869"/>
                <a:gd name="connsiteX3" fmla="*/ 17253 w 33866"/>
                <a:gd name="connsiteY3" fmla="*/ 35 h 33869"/>
                <a:gd name="connsiteX4" fmla="*/ 0 w 33866"/>
                <a:gd name="connsiteY4" fmla="*/ 16633 h 33869"/>
                <a:gd name="connsiteX5" fmla="*/ 0 w 33866"/>
                <a:gd name="connsiteY5" fmla="*/ 16633 h 33869"/>
                <a:gd name="connsiteX6" fmla="*/ 21087 w 33866"/>
                <a:gd name="connsiteY6" fmla="*/ 16633 h 33869"/>
                <a:gd name="connsiteX7" fmla="*/ 16614 w 33866"/>
                <a:gd name="connsiteY7" fmla="*/ 21102 h 33869"/>
                <a:gd name="connsiteX8" fmla="*/ 12780 w 33866"/>
                <a:gd name="connsiteY8" fmla="*/ 17271 h 33869"/>
                <a:gd name="connsiteX9" fmla="*/ 16614 w 33866"/>
                <a:gd name="connsiteY9" fmla="*/ 12803 h 33869"/>
                <a:gd name="connsiteX10" fmla="*/ 21087 w 33866"/>
                <a:gd name="connsiteY10" fmla="*/ 16633 h 33869"/>
                <a:gd name="connsiteX11" fmla="*/ 21087 w 33866"/>
                <a:gd name="connsiteY11" fmla="*/ 16633 h 33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866" h="33869">
                  <a:moveTo>
                    <a:pt x="0" y="16633"/>
                  </a:moveTo>
                  <a:cubicBezTo>
                    <a:pt x="0" y="26209"/>
                    <a:pt x="7668" y="33870"/>
                    <a:pt x="17253" y="33870"/>
                  </a:cubicBezTo>
                  <a:cubicBezTo>
                    <a:pt x="26838" y="33870"/>
                    <a:pt x="33867" y="26209"/>
                    <a:pt x="33867" y="17271"/>
                  </a:cubicBezTo>
                  <a:cubicBezTo>
                    <a:pt x="33867" y="8334"/>
                    <a:pt x="26199" y="673"/>
                    <a:pt x="17253" y="35"/>
                  </a:cubicBezTo>
                  <a:cubicBezTo>
                    <a:pt x="8307" y="-604"/>
                    <a:pt x="0" y="7695"/>
                    <a:pt x="0" y="16633"/>
                  </a:cubicBezTo>
                  <a:lnTo>
                    <a:pt x="0" y="16633"/>
                  </a:lnTo>
                  <a:close/>
                  <a:moveTo>
                    <a:pt x="21087" y="16633"/>
                  </a:moveTo>
                  <a:cubicBezTo>
                    <a:pt x="21087" y="19187"/>
                    <a:pt x="19170" y="21102"/>
                    <a:pt x="16614" y="21102"/>
                  </a:cubicBezTo>
                  <a:cubicBezTo>
                    <a:pt x="14058" y="21102"/>
                    <a:pt x="12780" y="19187"/>
                    <a:pt x="12780" y="17271"/>
                  </a:cubicBezTo>
                  <a:cubicBezTo>
                    <a:pt x="12780" y="15356"/>
                    <a:pt x="14697" y="13441"/>
                    <a:pt x="16614" y="12803"/>
                  </a:cubicBezTo>
                  <a:cubicBezTo>
                    <a:pt x="19170" y="12803"/>
                    <a:pt x="21087" y="14718"/>
                    <a:pt x="21087" y="16633"/>
                  </a:cubicBezTo>
                  <a:lnTo>
                    <a:pt x="21087" y="1663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Graphic 4">
              <a:extLst>
                <a:ext uri="{FF2B5EF4-FFF2-40B4-BE49-F238E27FC236}">
                  <a16:creationId xmlns:a16="http://schemas.microsoft.com/office/drawing/2014/main" id="{205C3C6F-4BE4-274E-B3DF-487BB36C32FF}"/>
                </a:ext>
              </a:extLst>
            </p:cNvPr>
            <p:cNvSpPr/>
            <p:nvPr/>
          </p:nvSpPr>
          <p:spPr>
            <a:xfrm>
              <a:off x="5825675" y="1474701"/>
              <a:ext cx="111051" cy="36549"/>
            </a:xfrm>
            <a:custGeom>
              <a:avLst/>
              <a:gdLst>
                <a:gd name="connsiteX0" fmla="*/ 5781 w 111051"/>
                <a:gd name="connsiteY0" fmla="*/ 36549 h 36549"/>
                <a:gd name="connsiteX1" fmla="*/ 10893 w 111051"/>
                <a:gd name="connsiteY1" fmla="*/ 33996 h 36549"/>
                <a:gd name="connsiteX2" fmla="*/ 90128 w 111051"/>
                <a:gd name="connsiteY2" fmla="*/ 24420 h 36549"/>
                <a:gd name="connsiteX3" fmla="*/ 99713 w 111051"/>
                <a:gd name="connsiteY3" fmla="*/ 33996 h 36549"/>
                <a:gd name="connsiteX4" fmla="*/ 108659 w 111051"/>
                <a:gd name="connsiteY4" fmla="*/ 35273 h 36549"/>
                <a:gd name="connsiteX5" fmla="*/ 109937 w 111051"/>
                <a:gd name="connsiteY5" fmla="*/ 26335 h 36549"/>
                <a:gd name="connsiteX6" fmla="*/ 12810 w 111051"/>
                <a:gd name="connsiteY6" fmla="*/ 14844 h 36549"/>
                <a:gd name="connsiteX7" fmla="*/ 1309 w 111051"/>
                <a:gd name="connsiteY7" fmla="*/ 26335 h 36549"/>
                <a:gd name="connsiteX8" fmla="*/ 2586 w 111051"/>
                <a:gd name="connsiteY8" fmla="*/ 35273 h 36549"/>
                <a:gd name="connsiteX9" fmla="*/ 5781 w 111051"/>
                <a:gd name="connsiteY9" fmla="*/ 36549 h 36549"/>
                <a:gd name="connsiteX10" fmla="*/ 5781 w 111051"/>
                <a:gd name="connsiteY10" fmla="*/ 36549 h 36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1051" h="36549">
                  <a:moveTo>
                    <a:pt x="5781" y="36549"/>
                  </a:moveTo>
                  <a:cubicBezTo>
                    <a:pt x="7698" y="36549"/>
                    <a:pt x="9615" y="35911"/>
                    <a:pt x="10893" y="33996"/>
                  </a:cubicBezTo>
                  <a:cubicBezTo>
                    <a:pt x="30063" y="9737"/>
                    <a:pt x="65847" y="5268"/>
                    <a:pt x="90128" y="24420"/>
                  </a:cubicBezTo>
                  <a:cubicBezTo>
                    <a:pt x="93963" y="26973"/>
                    <a:pt x="96518" y="30165"/>
                    <a:pt x="99713" y="33996"/>
                  </a:cubicBezTo>
                  <a:cubicBezTo>
                    <a:pt x="101630" y="36549"/>
                    <a:pt x="106103" y="37188"/>
                    <a:pt x="108659" y="35273"/>
                  </a:cubicBezTo>
                  <a:cubicBezTo>
                    <a:pt x="111215" y="33357"/>
                    <a:pt x="111854" y="28889"/>
                    <a:pt x="109937" y="26335"/>
                  </a:cubicBezTo>
                  <a:cubicBezTo>
                    <a:pt x="86295" y="-3670"/>
                    <a:pt x="42843" y="-8777"/>
                    <a:pt x="12810" y="14844"/>
                  </a:cubicBezTo>
                  <a:cubicBezTo>
                    <a:pt x="8337" y="18036"/>
                    <a:pt x="4503" y="21866"/>
                    <a:pt x="1309" y="26335"/>
                  </a:cubicBezTo>
                  <a:cubicBezTo>
                    <a:pt x="-609" y="28889"/>
                    <a:pt x="-609" y="33357"/>
                    <a:pt x="2586" y="35273"/>
                  </a:cubicBezTo>
                  <a:cubicBezTo>
                    <a:pt x="3225" y="35911"/>
                    <a:pt x="5142" y="36549"/>
                    <a:pt x="5781" y="36549"/>
                  </a:cubicBezTo>
                  <a:lnTo>
                    <a:pt x="5781" y="3654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Graphic 4">
              <a:extLst>
                <a:ext uri="{FF2B5EF4-FFF2-40B4-BE49-F238E27FC236}">
                  <a16:creationId xmlns:a16="http://schemas.microsoft.com/office/drawing/2014/main" id="{12967892-EE26-8B45-89F5-018DD59C78EA}"/>
                </a:ext>
              </a:extLst>
            </p:cNvPr>
            <p:cNvSpPr/>
            <p:nvPr/>
          </p:nvSpPr>
          <p:spPr>
            <a:xfrm>
              <a:off x="5845677" y="1503451"/>
              <a:ext cx="71240" cy="27590"/>
            </a:xfrm>
            <a:custGeom>
              <a:avLst/>
              <a:gdLst>
                <a:gd name="connsiteX0" fmla="*/ 59902 w 71240"/>
                <a:gd name="connsiteY0" fmla="*/ 25036 h 27590"/>
                <a:gd name="connsiteX1" fmla="*/ 65014 w 71240"/>
                <a:gd name="connsiteY1" fmla="*/ 27590 h 27590"/>
                <a:gd name="connsiteX2" fmla="*/ 68848 w 71240"/>
                <a:gd name="connsiteY2" fmla="*/ 26313 h 27590"/>
                <a:gd name="connsiteX3" fmla="*/ 70126 w 71240"/>
                <a:gd name="connsiteY3" fmla="*/ 17376 h 27590"/>
                <a:gd name="connsiteX4" fmla="*/ 10061 w 71240"/>
                <a:gd name="connsiteY4" fmla="*/ 8438 h 27590"/>
                <a:gd name="connsiteX5" fmla="*/ 1115 w 71240"/>
                <a:gd name="connsiteY5" fmla="*/ 17376 h 27590"/>
                <a:gd name="connsiteX6" fmla="*/ 2393 w 71240"/>
                <a:gd name="connsiteY6" fmla="*/ 26313 h 27590"/>
                <a:gd name="connsiteX7" fmla="*/ 11338 w 71240"/>
                <a:gd name="connsiteY7" fmla="*/ 25036 h 27590"/>
                <a:gd name="connsiteX8" fmla="*/ 53512 w 71240"/>
                <a:gd name="connsiteY8" fmla="*/ 18652 h 27590"/>
                <a:gd name="connsiteX9" fmla="*/ 59902 w 71240"/>
                <a:gd name="connsiteY9" fmla="*/ 25036 h 27590"/>
                <a:gd name="connsiteX10" fmla="*/ 59902 w 71240"/>
                <a:gd name="connsiteY10" fmla="*/ 25036 h 27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1240" h="27590">
                  <a:moveTo>
                    <a:pt x="59902" y="25036"/>
                  </a:moveTo>
                  <a:cubicBezTo>
                    <a:pt x="61180" y="26952"/>
                    <a:pt x="63097" y="27590"/>
                    <a:pt x="65014" y="27590"/>
                  </a:cubicBezTo>
                  <a:cubicBezTo>
                    <a:pt x="66292" y="27590"/>
                    <a:pt x="67570" y="26952"/>
                    <a:pt x="68848" y="26313"/>
                  </a:cubicBezTo>
                  <a:cubicBezTo>
                    <a:pt x="71404" y="24398"/>
                    <a:pt x="72043" y="20568"/>
                    <a:pt x="70126" y="17376"/>
                  </a:cubicBezTo>
                  <a:cubicBezTo>
                    <a:pt x="56068" y="-1776"/>
                    <a:pt x="29230" y="-5607"/>
                    <a:pt x="10061" y="8438"/>
                  </a:cubicBezTo>
                  <a:cubicBezTo>
                    <a:pt x="6226" y="10992"/>
                    <a:pt x="3671" y="14184"/>
                    <a:pt x="1115" y="17376"/>
                  </a:cubicBezTo>
                  <a:cubicBezTo>
                    <a:pt x="-802" y="19929"/>
                    <a:pt x="-163" y="24398"/>
                    <a:pt x="2393" y="26313"/>
                  </a:cubicBezTo>
                  <a:cubicBezTo>
                    <a:pt x="4948" y="28228"/>
                    <a:pt x="9421" y="27590"/>
                    <a:pt x="11338" y="25036"/>
                  </a:cubicBezTo>
                  <a:cubicBezTo>
                    <a:pt x="20923" y="11630"/>
                    <a:pt x="40093" y="8438"/>
                    <a:pt x="53512" y="18652"/>
                  </a:cubicBezTo>
                  <a:cubicBezTo>
                    <a:pt x="56068" y="20568"/>
                    <a:pt x="57985" y="22483"/>
                    <a:pt x="59902" y="25036"/>
                  </a:cubicBezTo>
                  <a:lnTo>
                    <a:pt x="59902" y="2503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8" name="Graphic 4">
            <a:extLst>
              <a:ext uri="{FF2B5EF4-FFF2-40B4-BE49-F238E27FC236}">
                <a16:creationId xmlns:a16="http://schemas.microsoft.com/office/drawing/2014/main" id="{D1307AC7-7221-3741-8E42-EDFAE481EF72}"/>
              </a:ext>
            </a:extLst>
          </p:cNvPr>
          <p:cNvGrpSpPr/>
          <p:nvPr/>
        </p:nvGrpSpPr>
        <p:grpSpPr>
          <a:xfrm>
            <a:off x="3573719" y="2260350"/>
            <a:ext cx="671039" cy="670413"/>
            <a:chOff x="2560447" y="4793256"/>
            <a:chExt cx="362309" cy="361971"/>
          </a:xfrm>
          <a:solidFill>
            <a:schemeClr val="tx1"/>
          </a:solidFill>
        </p:grpSpPr>
        <p:sp>
          <p:nvSpPr>
            <p:cNvPr id="59" name="Graphic 4">
              <a:extLst>
                <a:ext uri="{FF2B5EF4-FFF2-40B4-BE49-F238E27FC236}">
                  <a16:creationId xmlns:a16="http://schemas.microsoft.com/office/drawing/2014/main" id="{CA7A3D7E-0366-0A4E-9C36-D006CF74965B}"/>
                </a:ext>
              </a:extLst>
            </p:cNvPr>
            <p:cNvSpPr/>
            <p:nvPr/>
          </p:nvSpPr>
          <p:spPr>
            <a:xfrm>
              <a:off x="2560447" y="4793256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0835 w 362309"/>
                <a:gd name="connsiteY2" fmla="*/ 361972 h 361971"/>
                <a:gd name="connsiteX3" fmla="*/ 362309 w 362309"/>
                <a:gd name="connsiteY3" fmla="*/ 181305 h 361971"/>
                <a:gd name="connsiteX4" fmla="*/ 362309 w 362309"/>
                <a:gd name="connsiteY4" fmla="*/ 181305 h 361971"/>
                <a:gd name="connsiteX5" fmla="*/ 181474 w 362309"/>
                <a:gd name="connsiteY5" fmla="*/ 0 h 361971"/>
                <a:gd name="connsiteX6" fmla="*/ 181474 w 362309"/>
                <a:gd name="connsiteY6" fmla="*/ 0 h 361971"/>
                <a:gd name="connsiteX7" fmla="*/ 181474 w 362309"/>
                <a:gd name="connsiteY7" fmla="*/ 348565 h 361971"/>
                <a:gd name="connsiteX8" fmla="*/ 12780 w 362309"/>
                <a:gd name="connsiteY8" fmla="*/ 180667 h 361971"/>
                <a:gd name="connsiteX9" fmla="*/ 180835 w 362309"/>
                <a:gd name="connsiteY9" fmla="*/ 12129 h 361971"/>
                <a:gd name="connsiteX10" fmla="*/ 349529 w 362309"/>
                <a:gd name="connsiteY10" fmla="*/ 180028 h 361971"/>
                <a:gd name="connsiteX11" fmla="*/ 349529 w 362309"/>
                <a:gd name="connsiteY11" fmla="*/ 180028 h 361971"/>
                <a:gd name="connsiteX12" fmla="*/ 181474 w 362309"/>
                <a:gd name="connsiteY12" fmla="*/ 348565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309" y="80438"/>
                    <a:pt x="281157" y="0"/>
                    <a:pt x="181474" y="0"/>
                  </a:cubicBezTo>
                  <a:lnTo>
                    <a:pt x="181474" y="0"/>
                  </a:lnTo>
                  <a:close/>
                  <a:moveTo>
                    <a:pt x="181474" y="348565"/>
                  </a:moveTo>
                  <a:cubicBezTo>
                    <a:pt x="88181" y="348565"/>
                    <a:pt x="12780" y="273234"/>
                    <a:pt x="12780" y="180667"/>
                  </a:cubicBezTo>
                  <a:cubicBezTo>
                    <a:pt x="12780" y="87461"/>
                    <a:pt x="88181" y="12129"/>
                    <a:pt x="180835" y="12129"/>
                  </a:cubicBezTo>
                  <a:cubicBezTo>
                    <a:pt x="274128" y="12129"/>
                    <a:pt x="349529" y="87461"/>
                    <a:pt x="349529" y="180028"/>
                  </a:cubicBezTo>
                  <a:cubicBezTo>
                    <a:pt x="349529" y="180028"/>
                    <a:pt x="349529" y="180028"/>
                    <a:pt x="349529" y="180028"/>
                  </a:cubicBezTo>
                  <a:cubicBezTo>
                    <a:pt x="349529" y="273234"/>
                    <a:pt x="274128" y="348565"/>
                    <a:pt x="181474" y="34856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Graphic 4">
              <a:extLst>
                <a:ext uri="{FF2B5EF4-FFF2-40B4-BE49-F238E27FC236}">
                  <a16:creationId xmlns:a16="http://schemas.microsoft.com/office/drawing/2014/main" id="{BAEC2FB8-4F49-4547-8418-87E385FC3F00}"/>
                </a:ext>
              </a:extLst>
            </p:cNvPr>
            <p:cNvSpPr/>
            <p:nvPr/>
          </p:nvSpPr>
          <p:spPr>
            <a:xfrm>
              <a:off x="2656935" y="4857096"/>
              <a:ext cx="170032" cy="233653"/>
            </a:xfrm>
            <a:custGeom>
              <a:avLst/>
              <a:gdLst>
                <a:gd name="connsiteX0" fmla="*/ 84986 w 170032"/>
                <a:gd name="connsiteY0" fmla="*/ 0 h 233653"/>
                <a:gd name="connsiteX1" fmla="*/ 84986 w 170032"/>
                <a:gd name="connsiteY1" fmla="*/ 0 h 233653"/>
                <a:gd name="connsiteX2" fmla="*/ 0 w 170032"/>
                <a:gd name="connsiteY2" fmla="*/ 84907 h 233653"/>
                <a:gd name="connsiteX3" fmla="*/ 12141 w 170032"/>
                <a:gd name="connsiteY3" fmla="*/ 127680 h 233653"/>
                <a:gd name="connsiteX4" fmla="*/ 79874 w 170032"/>
                <a:gd name="connsiteY4" fmla="*/ 230462 h 233653"/>
                <a:gd name="connsiteX5" fmla="*/ 84986 w 170032"/>
                <a:gd name="connsiteY5" fmla="*/ 233654 h 233653"/>
                <a:gd name="connsiteX6" fmla="*/ 84986 w 170032"/>
                <a:gd name="connsiteY6" fmla="*/ 233654 h 233653"/>
                <a:gd name="connsiteX7" fmla="*/ 90098 w 170032"/>
                <a:gd name="connsiteY7" fmla="*/ 230462 h 233653"/>
                <a:gd name="connsiteX8" fmla="*/ 158471 w 170032"/>
                <a:gd name="connsiteY8" fmla="*/ 127680 h 233653"/>
                <a:gd name="connsiteX9" fmla="*/ 169972 w 170032"/>
                <a:gd name="connsiteY9" fmla="*/ 84907 h 233653"/>
                <a:gd name="connsiteX10" fmla="*/ 84986 w 170032"/>
                <a:gd name="connsiteY10" fmla="*/ 0 h 233653"/>
                <a:gd name="connsiteX11" fmla="*/ 147608 w 170032"/>
                <a:gd name="connsiteY11" fmla="*/ 121296 h 233653"/>
                <a:gd name="connsiteX12" fmla="*/ 84986 w 170032"/>
                <a:gd name="connsiteY12" fmla="*/ 215779 h 233653"/>
                <a:gd name="connsiteX13" fmla="*/ 22365 w 170032"/>
                <a:gd name="connsiteY13" fmla="*/ 121296 h 233653"/>
                <a:gd name="connsiteX14" fmla="*/ 12780 w 170032"/>
                <a:gd name="connsiteY14" fmla="*/ 84907 h 233653"/>
                <a:gd name="connsiteX15" fmla="*/ 84986 w 170032"/>
                <a:gd name="connsiteY15" fmla="*/ 12768 h 233653"/>
                <a:gd name="connsiteX16" fmla="*/ 84986 w 170032"/>
                <a:gd name="connsiteY16" fmla="*/ 12768 h 233653"/>
                <a:gd name="connsiteX17" fmla="*/ 157192 w 170032"/>
                <a:gd name="connsiteY17" fmla="*/ 84907 h 233653"/>
                <a:gd name="connsiteX18" fmla="*/ 147608 w 170032"/>
                <a:gd name="connsiteY18" fmla="*/ 121296 h 233653"/>
                <a:gd name="connsiteX19" fmla="*/ 147608 w 170032"/>
                <a:gd name="connsiteY19" fmla="*/ 121296 h 233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0032" h="233653">
                  <a:moveTo>
                    <a:pt x="84986" y="0"/>
                  </a:moveTo>
                  <a:lnTo>
                    <a:pt x="84986" y="0"/>
                  </a:lnTo>
                  <a:cubicBezTo>
                    <a:pt x="37701" y="0"/>
                    <a:pt x="0" y="38304"/>
                    <a:pt x="0" y="84907"/>
                  </a:cubicBezTo>
                  <a:cubicBezTo>
                    <a:pt x="0" y="100229"/>
                    <a:pt x="3834" y="114912"/>
                    <a:pt x="12141" y="127680"/>
                  </a:cubicBezTo>
                  <a:lnTo>
                    <a:pt x="79874" y="230462"/>
                  </a:lnTo>
                  <a:cubicBezTo>
                    <a:pt x="81152" y="232377"/>
                    <a:pt x="83069" y="233654"/>
                    <a:pt x="84986" y="233654"/>
                  </a:cubicBezTo>
                  <a:lnTo>
                    <a:pt x="84986" y="233654"/>
                  </a:lnTo>
                  <a:cubicBezTo>
                    <a:pt x="86903" y="233654"/>
                    <a:pt x="88820" y="232377"/>
                    <a:pt x="90098" y="230462"/>
                  </a:cubicBezTo>
                  <a:lnTo>
                    <a:pt x="158471" y="127680"/>
                  </a:lnTo>
                  <a:cubicBezTo>
                    <a:pt x="166138" y="114912"/>
                    <a:pt x="170611" y="100229"/>
                    <a:pt x="169972" y="84907"/>
                  </a:cubicBezTo>
                  <a:cubicBezTo>
                    <a:pt x="169972" y="38304"/>
                    <a:pt x="131633" y="0"/>
                    <a:pt x="84986" y="0"/>
                  </a:cubicBezTo>
                  <a:close/>
                  <a:moveTo>
                    <a:pt x="147608" y="121296"/>
                  </a:moveTo>
                  <a:lnTo>
                    <a:pt x="84986" y="215779"/>
                  </a:lnTo>
                  <a:lnTo>
                    <a:pt x="22365" y="121296"/>
                  </a:lnTo>
                  <a:cubicBezTo>
                    <a:pt x="15336" y="110443"/>
                    <a:pt x="12141" y="97675"/>
                    <a:pt x="12780" y="84907"/>
                  </a:cubicBezTo>
                  <a:cubicBezTo>
                    <a:pt x="12780" y="45326"/>
                    <a:pt x="44730" y="12768"/>
                    <a:pt x="84986" y="12768"/>
                  </a:cubicBezTo>
                  <a:lnTo>
                    <a:pt x="84986" y="12768"/>
                  </a:lnTo>
                  <a:cubicBezTo>
                    <a:pt x="125243" y="12768"/>
                    <a:pt x="157192" y="45326"/>
                    <a:pt x="157192" y="84907"/>
                  </a:cubicBezTo>
                  <a:cubicBezTo>
                    <a:pt x="157192" y="97675"/>
                    <a:pt x="153998" y="110443"/>
                    <a:pt x="147608" y="121296"/>
                  </a:cubicBezTo>
                  <a:lnTo>
                    <a:pt x="147608" y="12129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Graphic 4">
              <a:extLst>
                <a:ext uri="{FF2B5EF4-FFF2-40B4-BE49-F238E27FC236}">
                  <a16:creationId xmlns:a16="http://schemas.microsoft.com/office/drawing/2014/main" id="{5086F871-3EA2-F240-A2B2-AE289268AD0F}"/>
                </a:ext>
              </a:extLst>
            </p:cNvPr>
            <p:cNvSpPr/>
            <p:nvPr/>
          </p:nvSpPr>
          <p:spPr>
            <a:xfrm>
              <a:off x="2704221" y="4904337"/>
              <a:ext cx="75401" cy="75331"/>
            </a:xfrm>
            <a:custGeom>
              <a:avLst/>
              <a:gdLst>
                <a:gd name="connsiteX0" fmla="*/ 37701 w 75401"/>
                <a:gd name="connsiteY0" fmla="*/ 0 h 75331"/>
                <a:gd name="connsiteX1" fmla="*/ 0 w 75401"/>
                <a:gd name="connsiteY1" fmla="*/ 37666 h 75331"/>
                <a:gd name="connsiteX2" fmla="*/ 37701 w 75401"/>
                <a:gd name="connsiteY2" fmla="*/ 75331 h 75331"/>
                <a:gd name="connsiteX3" fmla="*/ 75401 w 75401"/>
                <a:gd name="connsiteY3" fmla="*/ 37666 h 75331"/>
                <a:gd name="connsiteX4" fmla="*/ 37701 w 75401"/>
                <a:gd name="connsiteY4" fmla="*/ 0 h 75331"/>
                <a:gd name="connsiteX5" fmla="*/ 37701 w 75401"/>
                <a:gd name="connsiteY5" fmla="*/ 63202 h 75331"/>
                <a:gd name="connsiteX6" fmla="*/ 12780 w 75401"/>
                <a:gd name="connsiteY6" fmla="*/ 38304 h 75331"/>
                <a:gd name="connsiteX7" fmla="*/ 37701 w 75401"/>
                <a:gd name="connsiteY7" fmla="*/ 13407 h 75331"/>
                <a:gd name="connsiteX8" fmla="*/ 62621 w 75401"/>
                <a:gd name="connsiteY8" fmla="*/ 38304 h 75331"/>
                <a:gd name="connsiteX9" fmla="*/ 37701 w 75401"/>
                <a:gd name="connsiteY9" fmla="*/ 63202 h 75331"/>
                <a:gd name="connsiteX10" fmla="*/ 37701 w 75401"/>
                <a:gd name="connsiteY10" fmla="*/ 63202 h 75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401" h="75331">
                  <a:moveTo>
                    <a:pt x="37701" y="0"/>
                  </a:moveTo>
                  <a:cubicBezTo>
                    <a:pt x="16614" y="0"/>
                    <a:pt x="0" y="17237"/>
                    <a:pt x="0" y="37666"/>
                  </a:cubicBezTo>
                  <a:cubicBezTo>
                    <a:pt x="0" y="58094"/>
                    <a:pt x="17253" y="75331"/>
                    <a:pt x="37701" y="75331"/>
                  </a:cubicBezTo>
                  <a:cubicBezTo>
                    <a:pt x="58148" y="75331"/>
                    <a:pt x="75401" y="58094"/>
                    <a:pt x="75401" y="37666"/>
                  </a:cubicBezTo>
                  <a:cubicBezTo>
                    <a:pt x="75401" y="17237"/>
                    <a:pt x="58148" y="0"/>
                    <a:pt x="37701" y="0"/>
                  </a:cubicBezTo>
                  <a:close/>
                  <a:moveTo>
                    <a:pt x="37701" y="63202"/>
                  </a:moveTo>
                  <a:cubicBezTo>
                    <a:pt x="23643" y="63202"/>
                    <a:pt x="12780" y="51710"/>
                    <a:pt x="12780" y="38304"/>
                  </a:cubicBezTo>
                  <a:cubicBezTo>
                    <a:pt x="12780" y="24898"/>
                    <a:pt x="24282" y="13407"/>
                    <a:pt x="37701" y="13407"/>
                  </a:cubicBezTo>
                  <a:cubicBezTo>
                    <a:pt x="51119" y="13407"/>
                    <a:pt x="62621" y="24898"/>
                    <a:pt x="62621" y="38304"/>
                  </a:cubicBezTo>
                  <a:cubicBezTo>
                    <a:pt x="62621" y="51710"/>
                    <a:pt x="51119" y="63202"/>
                    <a:pt x="37701" y="63202"/>
                  </a:cubicBezTo>
                  <a:lnTo>
                    <a:pt x="37701" y="6320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24480256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848637E-63DA-4401-8511-6046BCCAE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848637E-63DA-4401-8511-6046BCCA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45761B0-77FF-4C13-8725-CD9623CCDE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AC4D8B-3C3E-48CA-939A-0E45C10ED4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solidFill>
                  <a:schemeClr val="tx1"/>
                </a:solidFill>
                <a:latin typeface="Calibri"/>
                <a:ea typeface="Open Sans Light"/>
                <a:cs typeface="Open Sans Light"/>
              </a:rPr>
              <a:t>Choosing the best model for identifying heart disease is crucial considering the delicacy of the topic. When determining which model is best performing, we narrow our evaluation criteria to a few factors: accuracy, recall, precision, speed, and granularity. </a:t>
            </a:r>
            <a:endParaRPr lang="en-US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1C78E7-7832-4909-A5AC-A4CF6BCB04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Open Sans"/>
                <a:ea typeface="Open Sans"/>
                <a:cs typeface="Open Sans"/>
              </a:rPr>
              <a:t>Model Evaluation</a:t>
            </a:r>
            <a:endParaRPr lang="en-US"/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9D0E742F-E7A5-AE4C-87DD-07D3DD533366}"/>
              </a:ext>
            </a:extLst>
          </p:cNvPr>
          <p:cNvGrpSpPr/>
          <p:nvPr/>
        </p:nvGrpSpPr>
        <p:grpSpPr>
          <a:xfrm>
            <a:off x="2784824" y="3379775"/>
            <a:ext cx="6567963" cy="1956122"/>
            <a:chOff x="2877310" y="3451673"/>
            <a:chExt cx="6032186" cy="1956122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734A0EDA-E269-440D-B5D8-804AD7263321}"/>
                </a:ext>
              </a:extLst>
            </p:cNvPr>
            <p:cNvCxnSpPr/>
            <p:nvPr/>
          </p:nvCxnSpPr>
          <p:spPr>
            <a:xfrm>
              <a:off x="3097199" y="3451673"/>
              <a:ext cx="1803991" cy="0"/>
            </a:xfrm>
            <a:prstGeom prst="line">
              <a:avLst/>
            </a:prstGeom>
            <a:ln w="57150">
              <a:solidFill>
                <a:srgbClr val="0076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37675EC-0B8E-448D-983B-30791DC52CBE}"/>
                </a:ext>
              </a:extLst>
            </p:cNvPr>
            <p:cNvCxnSpPr/>
            <p:nvPr/>
          </p:nvCxnSpPr>
          <p:spPr>
            <a:xfrm>
              <a:off x="6643254" y="3451673"/>
              <a:ext cx="1803991" cy="0"/>
            </a:xfrm>
            <a:prstGeom prst="line">
              <a:avLst/>
            </a:prstGeom>
            <a:ln w="57150">
              <a:solidFill>
                <a:srgbClr val="6FC2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5E2B64A-5BD8-4CDF-A648-40F92CCB8A51}"/>
                </a:ext>
              </a:extLst>
            </p:cNvPr>
            <p:cNvSpPr/>
            <p:nvPr/>
          </p:nvSpPr>
          <p:spPr>
            <a:xfrm>
              <a:off x="2877310" y="3576030"/>
              <a:ext cx="2593620" cy="1791003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285750" lvl="1" indent="-171450" eaLnBrk="0" fontAlgn="base" hangingPunct="0">
                <a:lnSpc>
                  <a:spcPct val="120000"/>
                </a:lnSpc>
                <a:spcAft>
                  <a:spcPts val="1000"/>
                </a:spcAft>
                <a:buSzPct val="75000"/>
                <a:buFont typeface="Arial"/>
                <a:buChar char="•"/>
                <a:defRPr/>
              </a:pPr>
              <a:r>
                <a:rPr lang="en-US" sz="120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88% Accuracy, 93% Precision, 88% Recall</a:t>
              </a:r>
              <a:endParaRPr lang="en-US"/>
            </a:p>
            <a:p>
              <a:pPr marL="285750" lvl="1" indent="-171450">
                <a:lnSpc>
                  <a:spcPct val="120000"/>
                </a:lnSpc>
                <a:spcAft>
                  <a:spcPts val="1000"/>
                </a:spcAft>
                <a:buSzPct val="75000"/>
                <a:buFont typeface="Arial"/>
                <a:buChar char="•"/>
                <a:defRPr/>
              </a:pPr>
              <a:r>
                <a:rPr lang="en-US" sz="120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Benefit to Scalability</a:t>
              </a:r>
              <a:endParaRPr lang="en-US" sz="1200">
                <a:solidFill>
                  <a:srgbClr val="000000"/>
                </a:solidFill>
                <a:latin typeface="Open Sans" charset="0"/>
                <a:ea typeface="Open Sans" charset="0"/>
                <a:cs typeface="Open Sans" charset="0"/>
              </a:endParaRPr>
            </a:p>
            <a:p>
              <a:pPr marL="285750" lvl="1" indent="-171450">
                <a:lnSpc>
                  <a:spcPct val="120000"/>
                </a:lnSpc>
                <a:spcAft>
                  <a:spcPts val="1000"/>
                </a:spcAft>
                <a:buSzPct val="75000"/>
                <a:buFont typeface="Arial"/>
                <a:buChar char="•"/>
                <a:defRPr/>
              </a:pPr>
              <a:r>
                <a:rPr lang="en-US" sz="120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Ability to fit large and complex dataset</a:t>
              </a:r>
              <a:endParaRPr lang="en-US" sz="1200">
                <a:solidFill>
                  <a:srgbClr val="000000"/>
                </a:solidFill>
                <a:latin typeface="Open Sans" charset="0"/>
                <a:ea typeface="Open Sans" charset="0"/>
                <a:cs typeface="Open Sans" charset="0"/>
              </a:endParaRPr>
            </a:p>
            <a:p>
              <a:pPr marL="285750" lvl="1" indent="-171450">
                <a:lnSpc>
                  <a:spcPct val="120000"/>
                </a:lnSpc>
                <a:spcAft>
                  <a:spcPts val="1000"/>
                </a:spcAft>
                <a:buSzPct val="75000"/>
                <a:buFont typeface="Arial"/>
                <a:buChar char="•"/>
                <a:defRPr/>
              </a:pPr>
              <a:endParaRPr lang="en-US" sz="1200">
                <a:solidFill>
                  <a:srgbClr val="000000"/>
                </a:solidFill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95B1F3D-19C6-494F-AEBB-8274FF1FFE5C}"/>
                </a:ext>
              </a:extLst>
            </p:cNvPr>
            <p:cNvSpPr/>
            <p:nvPr/>
          </p:nvSpPr>
          <p:spPr>
            <a:xfrm>
              <a:off x="6119743" y="3532392"/>
              <a:ext cx="2789753" cy="1791003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marL="285750" lvl="1" indent="-171450" eaLnBrk="0" fontAlgn="base" hangingPunct="0">
                <a:lnSpc>
                  <a:spcPct val="120000"/>
                </a:lnSpc>
                <a:spcAft>
                  <a:spcPts val="1000"/>
                </a:spcAft>
                <a:buSzPct val="75000"/>
                <a:buFont typeface="Arial"/>
                <a:buChar char="•"/>
                <a:defRPr/>
              </a:pPr>
              <a:r>
                <a:rPr lang="en-US" sz="120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80% Accuracy, 89% Precision, 77% Recall</a:t>
              </a:r>
            </a:p>
            <a:p>
              <a:pPr marL="285750" lvl="1" indent="-171450">
                <a:lnSpc>
                  <a:spcPct val="120000"/>
                </a:lnSpc>
                <a:spcAft>
                  <a:spcPts val="1000"/>
                </a:spcAft>
                <a:buSzPct val="75000"/>
                <a:buFont typeface="Arial"/>
                <a:buChar char="•"/>
                <a:defRPr/>
              </a:pPr>
              <a:r>
                <a:rPr lang="en-US" sz="120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Identify the features that are the biggest contributors to the decision</a:t>
              </a:r>
              <a:endParaRPr lang="en-US" sz="1200">
                <a:solidFill>
                  <a:srgbClr val="000000"/>
                </a:solidFill>
                <a:latin typeface="Open Sans" charset="0"/>
                <a:ea typeface="Open Sans" charset="0"/>
                <a:cs typeface="Open Sans" charset="0"/>
              </a:endParaRPr>
            </a:p>
            <a:p>
              <a:pPr marL="285750" lvl="1" indent="-171450">
                <a:lnSpc>
                  <a:spcPct val="120000"/>
                </a:lnSpc>
                <a:spcAft>
                  <a:spcPts val="1000"/>
                </a:spcAft>
                <a:buSzPct val="75000"/>
                <a:buFont typeface="Arial"/>
                <a:buChar char="•"/>
                <a:defRPr/>
              </a:pPr>
              <a:r>
                <a:rPr lang="en-US" sz="120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Speed</a:t>
              </a:r>
            </a:p>
            <a:p>
              <a:pPr marL="285750" lvl="1" indent="-171450">
                <a:lnSpc>
                  <a:spcPct val="120000"/>
                </a:lnSpc>
                <a:spcAft>
                  <a:spcPts val="1000"/>
                </a:spcAft>
                <a:buSzPct val="75000"/>
                <a:buFont typeface="Arial"/>
                <a:buChar char="•"/>
                <a:defRPr/>
              </a:pPr>
              <a:r>
                <a:rPr lang="en-US" sz="120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Limitation to handle big dataset </a:t>
              </a: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361281D1-28B1-415B-A717-C8F81E484C3A}"/>
                </a:ext>
              </a:extLst>
            </p:cNvPr>
            <p:cNvCxnSpPr/>
            <p:nvPr/>
          </p:nvCxnSpPr>
          <p:spPr>
            <a:xfrm>
              <a:off x="3097199" y="5407795"/>
              <a:ext cx="1803991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971B6700-B4F6-4EAA-B50D-DC0A6B5C5193}"/>
                </a:ext>
              </a:extLst>
            </p:cNvPr>
            <p:cNvCxnSpPr/>
            <p:nvPr/>
          </p:nvCxnSpPr>
          <p:spPr>
            <a:xfrm>
              <a:off x="6679609" y="5407795"/>
              <a:ext cx="1803991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 descr="Recurrent Neural Networks - Wisdom Geek">
            <a:extLst>
              <a:ext uri="{FF2B5EF4-FFF2-40B4-BE49-F238E27FC236}">
                <a16:creationId xmlns:a16="http://schemas.microsoft.com/office/drawing/2014/main" id="{BCB144F5-D404-6AAD-5656-7F0EA08F5FA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99039" y="1443717"/>
            <a:ext cx="1221922" cy="1221922"/>
          </a:xfrm>
          <a:prstGeom prst="rect">
            <a:avLst/>
          </a:prstGeom>
        </p:spPr>
      </p:pic>
      <p:pic>
        <p:nvPicPr>
          <p:cNvPr id="7" name="Picture 6" descr="Graph Database: Use Cases, Performance, Scaling - ArangoDB">
            <a:extLst>
              <a:ext uri="{FF2B5EF4-FFF2-40B4-BE49-F238E27FC236}">
                <a16:creationId xmlns:a16="http://schemas.microsoft.com/office/drawing/2014/main" id="{F0C7093B-B80D-DC2D-883A-53F562A6E1D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21978" y="1442356"/>
            <a:ext cx="1370240" cy="122464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B39ADBC-5C4C-BC37-4911-3D6D880742A6}"/>
              </a:ext>
            </a:extLst>
          </p:cNvPr>
          <p:cNvSpPr txBox="1"/>
          <p:nvPr/>
        </p:nvSpPr>
        <p:spPr>
          <a:xfrm>
            <a:off x="3047999" y="2911929"/>
            <a:ext cx="211591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latin typeface="Open Sans Semibold"/>
                <a:ea typeface="Calibri"/>
                <a:cs typeface="Calibri"/>
              </a:rPr>
              <a:t>Neural Network</a:t>
            </a:r>
            <a:endParaRPr lang="en-US">
              <a:latin typeface="Open Sans Semibold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F8D91C7-9386-7442-ED5E-818A40C43BA0}"/>
              </a:ext>
            </a:extLst>
          </p:cNvPr>
          <p:cNvSpPr txBox="1"/>
          <p:nvPr/>
        </p:nvSpPr>
        <p:spPr>
          <a:xfrm>
            <a:off x="7054066" y="2911928"/>
            <a:ext cx="166007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latin typeface="Open Sans Semibold"/>
                <a:ea typeface="Calibri"/>
                <a:cs typeface="Calibri"/>
              </a:rPr>
              <a:t>Decision Tree</a:t>
            </a:r>
            <a:endParaRPr lang="en-US">
              <a:latin typeface="Open Sans Semibold"/>
            </a:endParaRPr>
          </a:p>
        </p:txBody>
      </p:sp>
      <p:pic>
        <p:nvPicPr>
          <p:cNvPr id="10" name="Picture 9" descr="A blue squares with white text&#10;&#10;Description automatically generated">
            <a:extLst>
              <a:ext uri="{FF2B5EF4-FFF2-40B4-BE49-F238E27FC236}">
                <a16:creationId xmlns:a16="http://schemas.microsoft.com/office/drawing/2014/main" id="{13A12206-1756-BAAE-26D7-90FC5A9B8FB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7039" y="3292187"/>
            <a:ext cx="2634962" cy="2134095"/>
          </a:xfrm>
          <a:prstGeom prst="rect">
            <a:avLst/>
          </a:prstGeom>
        </p:spPr>
      </p:pic>
      <p:pic>
        <p:nvPicPr>
          <p:cNvPr id="11" name="Picture 10" descr="A blue squares with white text&#10;&#10;Description automatically generated">
            <a:extLst>
              <a:ext uri="{FF2B5EF4-FFF2-40B4-BE49-F238E27FC236}">
                <a16:creationId xmlns:a16="http://schemas.microsoft.com/office/drawing/2014/main" id="{0AE4BD8F-CE5D-A93C-DB63-5D83CECB680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307223" y="3291444"/>
            <a:ext cx="2622592" cy="2135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299992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5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E855C-0644-3F98-FFDF-AB1AF4DE1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010" y="120970"/>
            <a:ext cx="10363200" cy="594360"/>
          </a:xfrm>
        </p:spPr>
        <p:txBody>
          <a:bodyPr/>
          <a:lstStyle/>
          <a:p>
            <a:r>
              <a:rPr lang="en-US" sz="2400">
                <a:latin typeface="Open Sans Semibold"/>
                <a:ea typeface="Open Sans Semibold"/>
                <a:cs typeface="Calibri Light"/>
              </a:rPr>
              <a:t>Decision Tree Feature Importance</a:t>
            </a:r>
            <a:endParaRPr lang="en-US" sz="2400">
              <a:latin typeface="Open Sans Semibold"/>
              <a:ea typeface="Open Sans Semibold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40452E-6FC5-19D1-CE2A-2FA9C06564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0331" y="878299"/>
            <a:ext cx="10362880" cy="47548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>
                <a:cs typeface="Calibri"/>
              </a:rPr>
              <a:t>Understanding which variables are most important in predicting the output: heart disease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A2C5B1-581E-9306-B493-E1748F245E09}"/>
              </a:ext>
            </a:extLst>
          </p:cNvPr>
          <p:cNvSpPr txBox="1"/>
          <p:nvPr/>
        </p:nvSpPr>
        <p:spPr>
          <a:xfrm>
            <a:off x="8226865" y="2686413"/>
            <a:ext cx="3521675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latin typeface="Open Sans Semibold"/>
                <a:ea typeface="Open Sans Semibold"/>
                <a:cs typeface="Calibri"/>
              </a:rPr>
              <a:t>#1: Up ST Slope </a:t>
            </a:r>
            <a:endParaRPr lang="en-US">
              <a:latin typeface="Open Sans"/>
              <a:ea typeface="Open Sans Semibold"/>
              <a:cs typeface="Calibri"/>
            </a:endParaRPr>
          </a:p>
          <a:p>
            <a:pPr marL="285750" indent="-285750">
              <a:buAutoNum type="arabicPeriod"/>
            </a:pPr>
            <a:endParaRPr lang="en-US">
              <a:latin typeface="Open Sans Semibold"/>
              <a:ea typeface="Open Sans Semibold"/>
              <a:cs typeface="Calibri"/>
            </a:endParaRPr>
          </a:p>
          <a:p>
            <a:r>
              <a:rPr lang="en-US">
                <a:latin typeface="Open Sans Semibold"/>
                <a:ea typeface="Open Sans Semibold"/>
                <a:cs typeface="Calibri"/>
              </a:rPr>
              <a:t>#2: Cholesterol</a:t>
            </a:r>
            <a:endParaRPr lang="en-US">
              <a:latin typeface="Open Sans"/>
              <a:ea typeface="Open Sans Semibold"/>
              <a:cs typeface="Calibri"/>
            </a:endParaRPr>
          </a:p>
          <a:p>
            <a:pPr marL="285750" indent="-285750">
              <a:buAutoNum type="arabicPeriod"/>
            </a:pPr>
            <a:endParaRPr lang="en-US">
              <a:latin typeface="Open Sans Semibold"/>
              <a:ea typeface="Open Sans Semibold"/>
              <a:cs typeface="Calibri"/>
            </a:endParaRPr>
          </a:p>
          <a:p>
            <a:r>
              <a:rPr lang="en-US">
                <a:latin typeface="Open Sans Semibold"/>
                <a:ea typeface="Open Sans Semibold"/>
                <a:cs typeface="Calibri"/>
              </a:rPr>
              <a:t>#3: Chest Pain Type: ASY</a:t>
            </a:r>
          </a:p>
        </p:txBody>
      </p:sp>
      <p:pic>
        <p:nvPicPr>
          <p:cNvPr id="6" name="Picture 5" descr="A graph with blue and white bars&#10;&#10;Description automatically generated">
            <a:extLst>
              <a:ext uri="{FF2B5EF4-FFF2-40B4-BE49-F238E27FC236}">
                <a16:creationId xmlns:a16="http://schemas.microsoft.com/office/drawing/2014/main" id="{ED75143F-C574-CB50-5577-5C21598B47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5863" y="1714500"/>
            <a:ext cx="6715125" cy="39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48112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6D97002-9789-4C37-A9CC-6B11437C8F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6D97002-9789-4C37-A9CC-6B11437C8F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BC3A2CE-2FB1-42EB-847E-7D463C580E7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AB8EF-6C62-445B-8017-FE6D38983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Open Sans"/>
                <a:ea typeface="Open Sans"/>
                <a:cs typeface="Open Sans"/>
              </a:rPr>
              <a:t>Client Recommendation</a:t>
            </a:r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20D761D-2F11-EB4C-9189-C8A5CB5B188C}"/>
              </a:ext>
            </a:extLst>
          </p:cNvPr>
          <p:cNvGrpSpPr/>
          <p:nvPr/>
        </p:nvGrpSpPr>
        <p:grpSpPr>
          <a:xfrm>
            <a:off x="588540" y="1372138"/>
            <a:ext cx="11182661" cy="2508799"/>
            <a:chOff x="479685" y="2097852"/>
            <a:chExt cx="10837574" cy="2508799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5075D41-56B7-4D71-AE73-F92D48FD22C0}"/>
                </a:ext>
              </a:extLst>
            </p:cNvPr>
            <p:cNvSpPr/>
            <p:nvPr/>
          </p:nvSpPr>
          <p:spPr>
            <a:xfrm>
              <a:off x="550017" y="3079985"/>
              <a:ext cx="2270633" cy="573490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/>
            <a:p>
              <a:pPr>
                <a:lnSpc>
                  <a:spcPct val="106000"/>
                </a:lnSpc>
                <a:defRPr/>
              </a:pPr>
              <a:r>
                <a:rPr lang="en-US" b="1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Model's business support</a:t>
              </a:r>
              <a:endParaRPr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53DD34C-446A-4992-8CDF-A7596BC5962A}"/>
                </a:ext>
              </a:extLst>
            </p:cNvPr>
            <p:cNvSpPr/>
            <p:nvPr/>
          </p:nvSpPr>
          <p:spPr>
            <a:xfrm>
              <a:off x="4175263" y="3031605"/>
              <a:ext cx="2629021" cy="279885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/>
            <a:p>
              <a:pPr>
                <a:lnSpc>
                  <a:spcPct val="106000"/>
                </a:lnSpc>
                <a:defRPr/>
              </a:pPr>
              <a:r>
                <a:rPr lang="en-US" b="1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Business Impact</a:t>
              </a:r>
              <a:endParaRPr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253DDA9-54F0-4267-A4D3-15EFD22BA2ED}"/>
                </a:ext>
              </a:extLst>
            </p:cNvPr>
            <p:cNvSpPr/>
            <p:nvPr/>
          </p:nvSpPr>
          <p:spPr>
            <a:xfrm>
              <a:off x="7902230" y="3031605"/>
              <a:ext cx="2077055" cy="573490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/>
            <a:p>
              <a:pPr>
                <a:lnSpc>
                  <a:spcPct val="106000"/>
                </a:lnSpc>
                <a:defRPr/>
              </a:pPr>
              <a:r>
                <a:rPr lang="en-US" b="1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Future Recommendations</a:t>
              </a:r>
              <a:endParaRPr 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D0CA646C-AA7C-4E22-8176-E9042A98D376}"/>
                </a:ext>
              </a:extLst>
            </p:cNvPr>
            <p:cNvCxnSpPr/>
            <p:nvPr/>
          </p:nvCxnSpPr>
          <p:spPr>
            <a:xfrm>
              <a:off x="479685" y="3788324"/>
              <a:ext cx="3415029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2F3119B-5708-43DF-9051-A7E2EC8A22EE}"/>
                </a:ext>
              </a:extLst>
            </p:cNvPr>
            <p:cNvCxnSpPr/>
            <p:nvPr/>
          </p:nvCxnSpPr>
          <p:spPr>
            <a:xfrm>
              <a:off x="4175263" y="3788324"/>
              <a:ext cx="3415029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8B8F75C-DDC4-47A4-9B1B-3EE3B5E1D6CF}"/>
                </a:ext>
              </a:extLst>
            </p:cNvPr>
            <p:cNvSpPr/>
            <p:nvPr/>
          </p:nvSpPr>
          <p:spPr>
            <a:xfrm>
              <a:off x="493133" y="2097852"/>
              <a:ext cx="641433" cy="641433"/>
            </a:xfrm>
            <a:prstGeom prst="ellipse">
              <a:avLst/>
            </a:prstGeom>
            <a:solidFill>
              <a:schemeClr val="bg1"/>
            </a:solidFill>
            <a:ln w="349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1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1A7B57D5-794A-48B4-B44C-EED7C2F3E676}"/>
                </a:ext>
              </a:extLst>
            </p:cNvPr>
            <p:cNvSpPr/>
            <p:nvPr/>
          </p:nvSpPr>
          <p:spPr>
            <a:xfrm>
              <a:off x="4188711" y="2097852"/>
              <a:ext cx="641433" cy="641433"/>
            </a:xfrm>
            <a:prstGeom prst="ellipse">
              <a:avLst/>
            </a:prstGeom>
            <a:solidFill>
              <a:schemeClr val="bg1"/>
            </a:solidFill>
            <a:ln w="349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2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AF8A8D1-BF6C-488D-AD28-EF855B8A9597}"/>
                </a:ext>
              </a:extLst>
            </p:cNvPr>
            <p:cNvSpPr/>
            <p:nvPr/>
          </p:nvSpPr>
          <p:spPr>
            <a:xfrm>
              <a:off x="7915678" y="2097852"/>
              <a:ext cx="641433" cy="641433"/>
            </a:xfrm>
            <a:prstGeom prst="ellipse">
              <a:avLst/>
            </a:prstGeom>
            <a:solidFill>
              <a:schemeClr val="bg1"/>
            </a:solidFill>
            <a:ln w="349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3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059DBDF-962B-48D0-8AAA-AC8FE4EFEC46}"/>
                </a:ext>
              </a:extLst>
            </p:cNvPr>
            <p:cNvSpPr/>
            <p:nvPr/>
          </p:nvSpPr>
          <p:spPr>
            <a:xfrm>
              <a:off x="479685" y="3941854"/>
              <a:ext cx="3415029" cy="664797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/>
            <a:p>
              <a:pPr marL="285750" indent="-285750">
                <a:lnSpc>
                  <a:spcPct val="130000"/>
                </a:lnSpc>
                <a:spcBef>
                  <a:spcPts val="1000"/>
                </a:spcBef>
                <a:buClr>
                  <a:srgbClr val="787878"/>
                </a:buClr>
                <a:buSzPct val="75000"/>
                <a:buFont typeface="Arial"/>
                <a:buChar char="•"/>
                <a:defRPr/>
              </a:pPr>
              <a:r>
                <a:rPr lang="en-US" sz="1400" spc="-3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Neural Network and Decision Tree Analysis Combination</a:t>
              </a:r>
            </a:p>
            <a:p>
              <a:pPr marL="742950" lvl="1" indent="-285750">
                <a:lnSpc>
                  <a:spcPct val="130000"/>
                </a:lnSpc>
                <a:spcBef>
                  <a:spcPts val="1000"/>
                </a:spcBef>
                <a:buClr>
                  <a:srgbClr val="787878"/>
                </a:buClr>
                <a:buSzPct val="75000"/>
                <a:buFont typeface="Courier New"/>
                <a:buChar char="o"/>
                <a:defRPr/>
              </a:pPr>
              <a:r>
                <a:rPr lang="en-US" sz="1400" spc="-3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High accuracy</a:t>
              </a:r>
            </a:p>
            <a:p>
              <a:pPr marL="742950" lvl="1" indent="-285750">
                <a:lnSpc>
                  <a:spcPct val="130000"/>
                </a:lnSpc>
                <a:spcBef>
                  <a:spcPts val="1000"/>
                </a:spcBef>
                <a:buClr>
                  <a:srgbClr val="787878"/>
                </a:buClr>
                <a:buSzPct val="75000"/>
                <a:buFont typeface="Courier New"/>
                <a:buChar char="o"/>
                <a:defRPr/>
              </a:pPr>
              <a:r>
                <a:rPr lang="en-US" sz="1400" spc="-3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Metric insight</a:t>
              </a:r>
              <a:endParaRPr lang="en-US"/>
            </a:p>
            <a:p>
              <a:pPr marL="285750" indent="-285750">
                <a:lnSpc>
                  <a:spcPct val="130000"/>
                </a:lnSpc>
                <a:spcBef>
                  <a:spcPts val="1000"/>
                </a:spcBef>
                <a:buClr>
                  <a:srgbClr val="787878"/>
                </a:buClr>
                <a:buSzPct val="75000"/>
                <a:buFont typeface="Arial"/>
                <a:buChar char="•"/>
                <a:defRPr/>
              </a:pPr>
              <a:endParaRPr lang="en-US" sz="1400" spc="-30">
                <a:solidFill>
                  <a:srgbClr val="000000"/>
                </a:solidFill>
                <a:latin typeface="Open Sans"/>
                <a:ea typeface="Open Sans"/>
                <a:cs typeface="Open Sans"/>
              </a:endParaRPr>
            </a:p>
            <a:p>
              <a:pPr>
                <a:lnSpc>
                  <a:spcPct val="130000"/>
                </a:lnSpc>
                <a:spcBef>
                  <a:spcPts val="1000"/>
                </a:spcBef>
                <a:buClr>
                  <a:srgbClr val="787878"/>
                </a:buClr>
                <a:buSzPct val="75000"/>
                <a:defRPr/>
              </a:pPr>
              <a:endParaRPr lang="en-US" sz="1400" spc="-30">
                <a:solidFill>
                  <a:srgbClr val="000000"/>
                </a:solidFill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347D4AE4-AA18-4D80-A78F-C39C3A4F607B}"/>
                </a:ext>
              </a:extLst>
            </p:cNvPr>
            <p:cNvSpPr/>
            <p:nvPr/>
          </p:nvSpPr>
          <p:spPr>
            <a:xfrm>
              <a:off x="4175263" y="3941854"/>
              <a:ext cx="3415028" cy="664797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/>
            <a:p>
              <a:pPr marL="285750" indent="-285750">
                <a:lnSpc>
                  <a:spcPct val="130000"/>
                </a:lnSpc>
                <a:spcBef>
                  <a:spcPts val="1000"/>
                </a:spcBef>
                <a:buClr>
                  <a:srgbClr val="787878"/>
                </a:buClr>
                <a:buSzPct val="75000"/>
                <a:buFont typeface="Arial"/>
                <a:buChar char="•"/>
                <a:defRPr/>
              </a:pPr>
              <a:r>
                <a:rPr lang="en-US" sz="1400" spc="-30">
                  <a:latin typeface="Open Sans"/>
                  <a:ea typeface="Open Sans"/>
                  <a:cs typeface="Open Sans"/>
                </a:rPr>
                <a:t>Identify patient risk level</a:t>
              </a:r>
            </a:p>
            <a:p>
              <a:pPr marL="285750" indent="-285750">
                <a:lnSpc>
                  <a:spcPct val="130000"/>
                </a:lnSpc>
                <a:spcBef>
                  <a:spcPts val="1000"/>
                </a:spcBef>
                <a:buClr>
                  <a:srgbClr val="787878"/>
                </a:buClr>
                <a:buSzPct val="75000"/>
                <a:buFont typeface="Arial"/>
                <a:buChar char="•"/>
                <a:defRPr/>
              </a:pPr>
              <a:r>
                <a:rPr lang="en-US" sz="1400" spc="-30">
                  <a:latin typeface="Open Sans"/>
                  <a:ea typeface="Open Sans"/>
                  <a:cs typeface="Open Sans"/>
                </a:rPr>
                <a:t>Informed decisions on lifestyle changes</a:t>
              </a:r>
            </a:p>
            <a:p>
              <a:pPr marL="285750" indent="-285750">
                <a:lnSpc>
                  <a:spcPct val="130000"/>
                </a:lnSpc>
                <a:spcBef>
                  <a:spcPts val="1000"/>
                </a:spcBef>
                <a:buClr>
                  <a:srgbClr val="787878"/>
                </a:buClr>
                <a:buSzPct val="75000"/>
                <a:buFont typeface="Arial"/>
                <a:buChar char="•"/>
                <a:defRPr/>
              </a:pPr>
              <a:r>
                <a:rPr lang="en-US" sz="1400" spc="-30">
                  <a:latin typeface="Open Sans"/>
                  <a:ea typeface="Open Sans"/>
                  <a:cs typeface="Open Sans"/>
                </a:rPr>
                <a:t>Decrease medical costs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3E9173A-25C7-441F-8240-4F556D4EF40B}"/>
                </a:ext>
              </a:extLst>
            </p:cNvPr>
            <p:cNvSpPr/>
            <p:nvPr/>
          </p:nvSpPr>
          <p:spPr>
            <a:xfrm>
              <a:off x="7902230" y="3941854"/>
              <a:ext cx="3415029" cy="664797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3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787878"/>
                </a:buClr>
                <a:buSzPct val="75000"/>
                <a:buFont typeface="Arial"/>
                <a:buChar char="•"/>
                <a:tabLst/>
                <a:defRPr/>
              </a:pPr>
              <a:endParaRPr lang="en-US" sz="1400" b="0" i="0" u="none" strike="noStrike" kern="1200" cap="none" spc="-3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endParaRP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E028D02E-5568-4A58-8FA9-15343E87D26F}"/>
                </a:ext>
              </a:extLst>
            </p:cNvPr>
            <p:cNvCxnSpPr/>
            <p:nvPr/>
          </p:nvCxnSpPr>
          <p:spPr>
            <a:xfrm>
              <a:off x="7902230" y="3788324"/>
              <a:ext cx="3415029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4A8568C0-F93B-C08B-E9D4-8E8179A1E6D7}"/>
              </a:ext>
            </a:extLst>
          </p:cNvPr>
          <p:cNvSpPr txBox="1"/>
          <p:nvPr/>
        </p:nvSpPr>
        <p:spPr>
          <a:xfrm>
            <a:off x="8309428" y="3066143"/>
            <a:ext cx="3174999" cy="89274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lnSpc>
                <a:spcPct val="200000"/>
              </a:lnSpc>
              <a:buFont typeface="Arial"/>
              <a:buChar char="•"/>
            </a:pPr>
            <a:r>
              <a:rPr lang="en-US" sz="1400">
                <a:latin typeface="Open Sans"/>
                <a:ea typeface="Calibri" panose="020F0502020204030204"/>
                <a:cs typeface="Calibri" panose="020F0502020204030204"/>
              </a:rPr>
              <a:t>Expanding model metrics</a:t>
            </a:r>
            <a:endParaRPr lang="en-US">
              <a:ea typeface="Calibri" panose="020F0502020204030204"/>
              <a:cs typeface="Calibri" panose="020F0502020204030204"/>
            </a:endParaRPr>
          </a:p>
          <a:p>
            <a:pPr marL="285750" indent="-285750">
              <a:lnSpc>
                <a:spcPct val="200000"/>
              </a:lnSpc>
              <a:buFont typeface="Arial"/>
              <a:buChar char="•"/>
            </a:pPr>
            <a:r>
              <a:rPr lang="en-US" sz="1400">
                <a:latin typeface="Open Sans"/>
                <a:ea typeface="Calibri" panose="020F0502020204030204"/>
                <a:cs typeface="Calibri" panose="020F0502020204030204"/>
              </a:rPr>
              <a:t>Patient portal insights </a:t>
            </a:r>
          </a:p>
        </p:txBody>
      </p:sp>
    </p:spTree>
    <p:extLst>
      <p:ext uri="{BB962C8B-B14F-4D97-AF65-F5344CB8AC3E}">
        <p14:creationId xmlns:p14="http://schemas.microsoft.com/office/powerpoint/2010/main" val="43970171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BCC8FA-F6E6-5932-7C5D-E2CB9557D1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>
                <a:latin typeface="Open Sans Semibold"/>
                <a:ea typeface="Open Sans Semibold"/>
                <a:cs typeface="Calibri Light"/>
              </a:rPr>
              <a:t>References</a:t>
            </a:r>
            <a:endParaRPr lang="en-US" sz="2400">
              <a:latin typeface="Open Sans Semibold"/>
              <a:ea typeface="Open Sans Semibold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DA8E52-2486-CEAF-90FB-D041D150BA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>
                <a:ea typeface="+mn-lt"/>
                <a:cs typeface="+mn-lt"/>
                <a:hlinkClick r:id="rId2"/>
              </a:rPr>
              <a:t>2024-Statistics-At-A-Glance-final_2024.pdf (heart.org)</a:t>
            </a:r>
          </a:p>
          <a:p>
            <a:pPr marL="0" indent="0">
              <a:buNone/>
            </a:pPr>
            <a:r>
              <a:rPr lang="en-US">
                <a:ea typeface="+mn-lt"/>
                <a:cs typeface="+mn-lt"/>
                <a:hlinkClick r:id="rId3"/>
              </a:rPr>
              <a:t>Heart Disease Facts | Heart Disease | CDC</a:t>
            </a:r>
          </a:p>
          <a:p>
            <a:pPr marL="0" indent="0">
              <a:buNone/>
            </a:pPr>
            <a:r>
              <a:rPr lang="en-US">
                <a:ea typeface="+mn-lt"/>
                <a:cs typeface="+mn-lt"/>
                <a:hlinkClick r:id="rId4"/>
              </a:rPr>
              <a:t>Heart-Health Screenings | American Heart Association</a:t>
            </a:r>
            <a:endParaRPr lang="en-US"/>
          </a:p>
          <a:p>
            <a:pPr marL="0" indent="0">
              <a:buNone/>
            </a:pPr>
            <a:r>
              <a:rPr lang="en-US">
                <a:ea typeface="+mn-lt"/>
                <a:cs typeface="+mn-lt"/>
                <a:hlinkClick r:id="rId5"/>
              </a:rPr>
              <a:t>Machine learning-based heart disease diagnosis: A systematic literature review - ScienceDirect</a:t>
            </a:r>
            <a:endParaRPr lang="en-US"/>
          </a:p>
          <a:p>
            <a:pPr marL="0" indent="0">
              <a:buNone/>
            </a:pPr>
            <a:endParaRPr lang="en-US">
              <a:cs typeface="Calibri"/>
            </a:endParaRPr>
          </a:p>
          <a:p>
            <a:pPr marL="0" indent="0">
              <a:buNone/>
            </a:pPr>
            <a:endParaRPr lang="en-US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969939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7A0DADA-3D72-424A-94A7-131D20A1C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9998E0-046A-F44E-A936-A2E492D816D4}"/>
              </a:ext>
            </a:extLst>
          </p:cNvPr>
          <p:cNvSpPr txBox="1"/>
          <p:nvPr/>
        </p:nvSpPr>
        <p:spPr>
          <a:xfrm>
            <a:off x="2431228" y="1305383"/>
            <a:ext cx="53572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3A706C-62AF-9745-A009-06F94566D6D7}"/>
              </a:ext>
            </a:extLst>
          </p:cNvPr>
          <p:cNvSpPr txBox="1"/>
          <p:nvPr/>
        </p:nvSpPr>
        <p:spPr>
          <a:xfrm>
            <a:off x="3322709" y="1555397"/>
            <a:ext cx="2709396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>
                <a:latin typeface="Open Sans Light"/>
                <a:ea typeface="Open Sans Light"/>
                <a:cs typeface="Open Sans Light"/>
              </a:rPr>
              <a:t>Business Understanding</a:t>
            </a:r>
            <a:endParaRPr lang="en-US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EC78DE7-D1D4-C54F-B592-65FF44DE9B74}"/>
              </a:ext>
            </a:extLst>
          </p:cNvPr>
          <p:cNvCxnSpPr/>
          <p:nvPr/>
        </p:nvCxnSpPr>
        <p:spPr>
          <a:xfrm>
            <a:off x="3092919" y="1397506"/>
            <a:ext cx="0" cy="646750"/>
          </a:xfrm>
          <a:prstGeom prst="line">
            <a:avLst/>
          </a:prstGeom>
          <a:ln w="63500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BC4DA48-C27B-5B4A-A226-DDC9ABA91CB3}"/>
              </a:ext>
            </a:extLst>
          </p:cNvPr>
          <p:cNvSpPr txBox="1"/>
          <p:nvPr/>
        </p:nvSpPr>
        <p:spPr>
          <a:xfrm>
            <a:off x="2431228" y="2456339"/>
            <a:ext cx="54373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8AE20D-0E0D-9847-85A3-D79F1795988E}"/>
              </a:ext>
            </a:extLst>
          </p:cNvPr>
          <p:cNvSpPr txBox="1"/>
          <p:nvPr/>
        </p:nvSpPr>
        <p:spPr>
          <a:xfrm>
            <a:off x="3322709" y="2706353"/>
            <a:ext cx="1923925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>
                <a:latin typeface="Open Sans Light"/>
                <a:ea typeface="Open Sans Light"/>
                <a:cs typeface="Open Sans Light"/>
              </a:rPr>
              <a:t>Client Motivation</a:t>
            </a:r>
            <a:endParaRPr lang="en-US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149275B-5F82-4949-82CD-9047CA8645B1}"/>
              </a:ext>
            </a:extLst>
          </p:cNvPr>
          <p:cNvCxnSpPr/>
          <p:nvPr/>
        </p:nvCxnSpPr>
        <p:spPr>
          <a:xfrm>
            <a:off x="3092919" y="2548462"/>
            <a:ext cx="0" cy="646750"/>
          </a:xfrm>
          <a:prstGeom prst="line">
            <a:avLst/>
          </a:prstGeom>
          <a:ln w="63500">
            <a:solidFill>
              <a:srgbClr val="43B02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9B8342D7-25EC-9741-B5CF-C1235FD355E0}"/>
              </a:ext>
            </a:extLst>
          </p:cNvPr>
          <p:cNvSpPr txBox="1"/>
          <p:nvPr/>
        </p:nvSpPr>
        <p:spPr>
          <a:xfrm>
            <a:off x="2431228" y="3607295"/>
            <a:ext cx="54373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C52A068-73E2-134D-B964-530674C3CBF4}"/>
              </a:ext>
            </a:extLst>
          </p:cNvPr>
          <p:cNvSpPr txBox="1"/>
          <p:nvPr/>
        </p:nvSpPr>
        <p:spPr>
          <a:xfrm>
            <a:off x="3322709" y="3857309"/>
            <a:ext cx="2009076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>
                <a:latin typeface="Open Sans Light"/>
                <a:ea typeface="Open Sans Light"/>
                <a:cs typeface="Open Sans Light"/>
              </a:rPr>
              <a:t>Modeling Process</a:t>
            </a:r>
            <a:endParaRPr lang="en-US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FD5B4CB-88EE-1D49-AE99-6A019C5B7600}"/>
              </a:ext>
            </a:extLst>
          </p:cNvPr>
          <p:cNvCxnSpPr/>
          <p:nvPr/>
        </p:nvCxnSpPr>
        <p:spPr>
          <a:xfrm>
            <a:off x="3092919" y="3699418"/>
            <a:ext cx="0" cy="646750"/>
          </a:xfrm>
          <a:prstGeom prst="line">
            <a:avLst/>
          </a:prstGeom>
          <a:ln w="63500">
            <a:solidFill>
              <a:srgbClr val="009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010E5895-8DF4-9745-B862-7534E8D5A29E}"/>
              </a:ext>
            </a:extLst>
          </p:cNvPr>
          <p:cNvSpPr txBox="1"/>
          <p:nvPr/>
        </p:nvSpPr>
        <p:spPr>
          <a:xfrm>
            <a:off x="2431228" y="4758251"/>
            <a:ext cx="53572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4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FE268EB-4EEB-F845-BB46-49DC77FBBD86}"/>
              </a:ext>
            </a:extLst>
          </p:cNvPr>
          <p:cNvSpPr txBox="1"/>
          <p:nvPr/>
        </p:nvSpPr>
        <p:spPr>
          <a:xfrm>
            <a:off x="3322709" y="5008265"/>
            <a:ext cx="1935338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>
                <a:latin typeface="Open Sans Light"/>
                <a:ea typeface="Open Sans Light"/>
                <a:cs typeface="Open Sans Light"/>
              </a:rPr>
              <a:t>Results Overview</a:t>
            </a:r>
            <a:endParaRPr lang="en-US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2A778C6-20F9-EA48-A2A0-E11BEBCC71B5}"/>
              </a:ext>
            </a:extLst>
          </p:cNvPr>
          <p:cNvCxnSpPr/>
          <p:nvPr/>
        </p:nvCxnSpPr>
        <p:spPr>
          <a:xfrm>
            <a:off x="3092919" y="4850374"/>
            <a:ext cx="0" cy="646750"/>
          </a:xfrm>
          <a:prstGeom prst="line">
            <a:avLst/>
          </a:prstGeom>
          <a:ln w="63500">
            <a:solidFill>
              <a:srgbClr val="046A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12115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5CEFC111-39FA-4622-85E2-9FC697CFCFBE}"/>
              </a:ext>
            </a:extLst>
          </p:cNvPr>
          <p:cNvGrpSpPr/>
          <p:nvPr/>
        </p:nvGrpSpPr>
        <p:grpSpPr>
          <a:xfrm>
            <a:off x="0" y="0"/>
            <a:ext cx="12192000" cy="104172"/>
            <a:chOff x="0" y="0"/>
            <a:chExt cx="9815332" cy="138896"/>
          </a:xfrm>
          <a:solidFill>
            <a:schemeClr val="bg1">
              <a:lumMod val="95000"/>
            </a:schemeClr>
          </a:solidFill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E6D444E-9160-4B45-BD39-B4383B9C5E20}"/>
                </a:ext>
              </a:extLst>
            </p:cNvPr>
            <p:cNvSpPr/>
            <p:nvPr/>
          </p:nvSpPr>
          <p:spPr>
            <a:xfrm>
              <a:off x="0" y="0"/>
              <a:ext cx="2453833" cy="13889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0E92B7F-C459-4ED8-936F-700045BA5E29}"/>
                </a:ext>
              </a:extLst>
            </p:cNvPr>
            <p:cNvSpPr/>
            <p:nvPr/>
          </p:nvSpPr>
          <p:spPr>
            <a:xfrm>
              <a:off x="2453833" y="0"/>
              <a:ext cx="2453833" cy="13889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1F0B474-25A2-43A1-8567-91445305897F}"/>
                </a:ext>
              </a:extLst>
            </p:cNvPr>
            <p:cNvSpPr/>
            <p:nvPr/>
          </p:nvSpPr>
          <p:spPr>
            <a:xfrm>
              <a:off x="4907666" y="0"/>
              <a:ext cx="2453833" cy="13889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01DD4BC-D729-4D76-AE38-D80791FDAA82}"/>
                </a:ext>
              </a:extLst>
            </p:cNvPr>
            <p:cNvSpPr/>
            <p:nvPr/>
          </p:nvSpPr>
          <p:spPr>
            <a:xfrm>
              <a:off x="7361499" y="0"/>
              <a:ext cx="2453833" cy="13889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2" name="Title 11">
            <a:extLst>
              <a:ext uri="{FF2B5EF4-FFF2-40B4-BE49-F238E27FC236}">
                <a16:creationId xmlns:a16="http://schemas.microsoft.com/office/drawing/2014/main" id="{903528D7-4EE1-2149-A7DB-BD4E1DDA2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136" y="474134"/>
            <a:ext cx="9542100" cy="589956"/>
          </a:xfrm>
        </p:spPr>
        <p:txBody>
          <a:bodyPr>
            <a:normAutofit/>
          </a:bodyPr>
          <a:lstStyle/>
          <a:p>
            <a:r>
              <a:rPr lang="en-US" sz="2400">
                <a:latin typeface="Open Sans"/>
                <a:ea typeface="Open Sans"/>
                <a:cs typeface="Open Sans"/>
              </a:rPr>
              <a:t>Cardiovascular Disease in the USA</a:t>
            </a:r>
            <a:endParaRPr lang="en-US" sz="24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B34EBA-E09F-D86C-147E-56DC06E85C7A}"/>
              </a:ext>
            </a:extLst>
          </p:cNvPr>
          <p:cNvSpPr txBox="1"/>
          <p:nvPr/>
        </p:nvSpPr>
        <p:spPr>
          <a:xfrm>
            <a:off x="907143" y="1941286"/>
            <a:ext cx="4396618" cy="31085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57200" indent="-457200">
              <a:buFont typeface="Arial"/>
              <a:buChar char="•"/>
            </a:pPr>
            <a:r>
              <a:rPr lang="en-US" sz="2800" b="1">
                <a:cs typeface="Calibri"/>
              </a:rPr>
              <a:t>127.9</a:t>
            </a:r>
            <a:r>
              <a:rPr lang="en-US" sz="2800">
                <a:cs typeface="Calibri"/>
              </a:rPr>
              <a:t> </a:t>
            </a:r>
            <a:r>
              <a:rPr lang="en-US" sz="2800" b="1">
                <a:cs typeface="Calibri"/>
              </a:rPr>
              <a:t>million</a:t>
            </a:r>
            <a:r>
              <a:rPr lang="en-US" sz="2800">
                <a:cs typeface="Calibri"/>
              </a:rPr>
              <a:t> US adults affected from 2017-2020</a:t>
            </a:r>
            <a:endParaRPr lang="en-US" sz="2800">
              <a:ea typeface="Calibri"/>
              <a:cs typeface="Calibri"/>
            </a:endParaRPr>
          </a:p>
          <a:p>
            <a:endParaRPr lang="en-US" sz="2800">
              <a:cs typeface="Calibri"/>
            </a:endParaRPr>
          </a:p>
          <a:p>
            <a:pPr marL="457200" indent="-457200">
              <a:buFont typeface="Arial"/>
              <a:buChar char="•"/>
            </a:pPr>
            <a:r>
              <a:rPr lang="en-US" sz="2800">
                <a:cs typeface="Calibri"/>
              </a:rPr>
              <a:t>Yearly Cost: </a:t>
            </a:r>
            <a:r>
              <a:rPr lang="en-US" sz="2800" b="1">
                <a:cs typeface="Calibri"/>
              </a:rPr>
              <a:t>$239.9 billion</a:t>
            </a:r>
            <a:endParaRPr lang="en-US" sz="2800">
              <a:cs typeface="Calibri"/>
            </a:endParaRPr>
          </a:p>
          <a:p>
            <a:r>
              <a:rPr lang="en-US" sz="2800">
                <a:cs typeface="Calibri"/>
              </a:rPr>
              <a:t>  -Healthcare Services</a:t>
            </a:r>
            <a:endParaRPr lang="en-US" sz="2800">
              <a:ea typeface="Calibri"/>
              <a:cs typeface="Calibri"/>
            </a:endParaRPr>
          </a:p>
          <a:p>
            <a:r>
              <a:rPr lang="en-US" sz="2800">
                <a:ea typeface="Calibri"/>
                <a:cs typeface="Calibri"/>
              </a:rPr>
              <a:t>  -Medicine</a:t>
            </a:r>
          </a:p>
          <a:p>
            <a:r>
              <a:rPr lang="en-US" sz="2800">
                <a:ea typeface="Calibri"/>
                <a:cs typeface="Calibri"/>
              </a:rPr>
              <a:t>  -Lost Productiv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0EE6D96-9792-B20B-9431-64706E4CB6A4}"/>
              </a:ext>
            </a:extLst>
          </p:cNvPr>
          <p:cNvSpPr txBox="1"/>
          <p:nvPr/>
        </p:nvSpPr>
        <p:spPr>
          <a:xfrm>
            <a:off x="163285" y="6331856"/>
            <a:ext cx="377371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*CDC data provided in references</a:t>
            </a:r>
            <a:endParaRPr lang="en-US"/>
          </a:p>
        </p:txBody>
      </p:sp>
      <p:pic>
        <p:nvPicPr>
          <p:cNvPr id="17" name="Picture 16" descr="Image result for cardiovascular health">
            <a:extLst>
              <a:ext uri="{FF2B5EF4-FFF2-40B4-BE49-F238E27FC236}">
                <a16:creationId xmlns:a16="http://schemas.microsoft.com/office/drawing/2014/main" id="{AAD9A91C-7AFA-AD33-F995-10B4961B5A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8035" y="1857914"/>
            <a:ext cx="3979997" cy="328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457816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3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>
            <a:extLst>
              <a:ext uri="{FF2B5EF4-FFF2-40B4-BE49-F238E27FC236}">
                <a16:creationId xmlns:a16="http://schemas.microsoft.com/office/drawing/2014/main" id="{CD0360F4-338D-4B8B-8DDC-979C2A1E10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7" name="Object 36" hidden="1">
                        <a:extLst>
                          <a:ext uri="{FF2B5EF4-FFF2-40B4-BE49-F238E27FC236}">
                            <a16:creationId xmlns:a16="http://schemas.microsoft.com/office/drawing/2014/main" id="{CD0360F4-338D-4B8B-8DDC-979C2A1E10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EB1C60B8-081F-4059-994B-4CDA804F7A89}"/>
              </a:ext>
            </a:extLst>
          </p:cNvPr>
          <p:cNvSpPr/>
          <p:nvPr/>
        </p:nvSpPr>
        <p:spPr>
          <a:xfrm>
            <a:off x="-16897" y="0"/>
            <a:ext cx="3821641" cy="6863680"/>
          </a:xfrm>
          <a:prstGeom prst="rect">
            <a:avLst/>
          </a:prstGeom>
          <a:solidFill>
            <a:srgbClr val="A0D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2743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5AA86E6-6B6D-114C-B238-8F9D3E2C45B0}"/>
              </a:ext>
            </a:extLst>
          </p:cNvPr>
          <p:cNvGrpSpPr/>
          <p:nvPr/>
        </p:nvGrpSpPr>
        <p:grpSpPr>
          <a:xfrm>
            <a:off x="4713218" y="732063"/>
            <a:ext cx="6105699" cy="5366862"/>
            <a:chOff x="5916964" y="1766899"/>
            <a:chExt cx="3718653" cy="3341015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0ED98EDD-4275-45BA-A049-703622482601}"/>
                </a:ext>
              </a:extLst>
            </p:cNvPr>
            <p:cNvSpPr/>
            <p:nvPr/>
          </p:nvSpPr>
          <p:spPr>
            <a:xfrm>
              <a:off x="5916964" y="1766899"/>
              <a:ext cx="274320" cy="274320"/>
            </a:xfrm>
            <a:prstGeom prst="ellipse">
              <a:avLst/>
            </a:prstGeom>
            <a:solidFill>
              <a:srgbClr val="00A3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7B0330E-ACE6-412F-BF5B-AEF1F726B74B}"/>
                </a:ext>
              </a:extLst>
            </p:cNvPr>
            <p:cNvSpPr txBox="1"/>
            <p:nvPr/>
          </p:nvSpPr>
          <p:spPr>
            <a:xfrm>
              <a:off x="6275367" y="3032407"/>
              <a:ext cx="3308631" cy="59395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>
                <a:defRPr/>
              </a:pPr>
              <a:r>
                <a:rPr lang="en-US" sz="2000" b="1">
                  <a:solidFill>
                    <a:prstClr val="black"/>
                  </a:solidFill>
                  <a:cs typeface="Calibri"/>
                </a:rPr>
                <a:t>Results Analysis</a:t>
              </a:r>
              <a:endParaRPr lang="en-US" sz="1200" b="1">
                <a:solidFill>
                  <a:prstClr val="black"/>
                </a:solidFill>
                <a:cs typeface="Calibri"/>
              </a:endParaRPr>
            </a:p>
            <a:p>
              <a:pPr marL="342900" indent="-342900">
                <a:buFont typeface="Arial"/>
                <a:buChar char="•"/>
                <a:defRPr/>
              </a:pPr>
              <a:r>
                <a:rPr lang="en-US">
                  <a:solidFill>
                    <a:prstClr val="black"/>
                  </a:solidFill>
                  <a:ea typeface="Calibri"/>
                  <a:cs typeface="Calibri"/>
                </a:rPr>
                <a:t>Doctor's opinion on overall health</a:t>
              </a:r>
              <a:endParaRPr lang="en-US">
                <a:solidFill>
                  <a:prstClr val="black"/>
                </a:solidFill>
                <a:cs typeface="Calibri"/>
              </a:endParaRPr>
            </a:p>
            <a:p>
              <a:pPr marL="342900" indent="-342900">
                <a:buFont typeface="Arial"/>
                <a:buChar char="•"/>
                <a:defRPr/>
              </a:pPr>
              <a:r>
                <a:rPr lang="en-US">
                  <a:solidFill>
                    <a:prstClr val="black"/>
                  </a:solidFill>
                  <a:cs typeface="Calibri"/>
                </a:rPr>
                <a:t>Diagnosis made if necessary</a:t>
              </a:r>
              <a:endParaRPr lang="en-US">
                <a:solidFill>
                  <a:prstClr val="black"/>
                </a:solidFill>
                <a:ea typeface="Calibri"/>
                <a:cs typeface="Calibri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DC8DAA7-56CD-48F4-A253-22A863B3D45C}"/>
                </a:ext>
              </a:extLst>
            </p:cNvPr>
            <p:cNvSpPr txBox="1"/>
            <p:nvPr/>
          </p:nvSpPr>
          <p:spPr>
            <a:xfrm>
              <a:off x="6275367" y="1766899"/>
              <a:ext cx="3198044" cy="24907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>
                <a:defRPr/>
              </a:pPr>
              <a:r>
                <a:rPr lang="en-US" sz="2000" b="1">
                  <a:solidFill>
                    <a:prstClr val="black"/>
                  </a:solidFill>
                </a:rPr>
                <a:t>Heart Health Screenings</a:t>
              </a:r>
              <a:endParaRPr lang="en-US" sz="3200">
                <a:solidFill>
                  <a:prstClr val="black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DEB55E1-950D-4A3B-AEE6-9F38E9CEE864}"/>
                </a:ext>
              </a:extLst>
            </p:cNvPr>
            <p:cNvSpPr txBox="1"/>
            <p:nvPr/>
          </p:nvSpPr>
          <p:spPr>
            <a:xfrm>
              <a:off x="6251977" y="4169078"/>
              <a:ext cx="3383640" cy="93883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>
                <a:defRPr/>
              </a:pPr>
              <a:r>
                <a:rPr lang="en-US" sz="2000" b="1">
                  <a:solidFill>
                    <a:prstClr val="black"/>
                  </a:solidFill>
                  <a:cs typeface="Calibri"/>
                </a:rPr>
                <a:t>Machine Learning</a:t>
              </a:r>
            </a:p>
            <a:p>
              <a:pPr marL="342900" indent="-342900">
                <a:buFont typeface="Arial"/>
                <a:buChar char="•"/>
                <a:defRPr/>
              </a:pPr>
              <a:r>
                <a:rPr lang="en-US">
                  <a:solidFill>
                    <a:prstClr val="black"/>
                  </a:solidFill>
                  <a:ea typeface="Calibri"/>
                  <a:cs typeface="Calibri"/>
                </a:rPr>
                <a:t>Model Innovation</a:t>
              </a:r>
            </a:p>
            <a:p>
              <a:pPr marL="342900" indent="-342900">
                <a:buFont typeface="Arial"/>
                <a:buChar char="•"/>
                <a:defRPr/>
              </a:pPr>
              <a:r>
                <a:rPr lang="en-US">
                  <a:solidFill>
                    <a:prstClr val="black"/>
                  </a:solidFill>
                  <a:ea typeface="Calibri"/>
                  <a:cs typeface="Calibri"/>
                </a:rPr>
                <a:t>Early warning signs/diagnosis</a:t>
              </a:r>
            </a:p>
            <a:p>
              <a:pPr marL="342900" indent="-342900">
                <a:buFont typeface="Arial"/>
                <a:buChar char="•"/>
                <a:defRPr/>
              </a:pPr>
              <a:r>
                <a:rPr lang="en-US">
                  <a:solidFill>
                    <a:prstClr val="black"/>
                  </a:solidFill>
                  <a:ea typeface="Calibri"/>
                  <a:cs typeface="Calibri"/>
                </a:rPr>
                <a:t>Increase patient health, reduce costs</a:t>
              </a:r>
            </a:p>
            <a:p>
              <a:pPr marL="342900" indent="-342900">
                <a:buFont typeface="Arial"/>
                <a:buChar char="•"/>
                <a:defRPr/>
              </a:pPr>
              <a:endParaRPr lang="en-US">
                <a:solidFill>
                  <a:prstClr val="black"/>
                </a:solidFill>
                <a:ea typeface="Calibri"/>
                <a:cs typeface="Calibri"/>
              </a:endParaRP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0E5A95C2-41A0-4AA4-974B-37D6B5CEC6DC}"/>
                </a:ext>
              </a:extLst>
            </p:cNvPr>
            <p:cNvCxnSpPr>
              <a:cxnSpLocks/>
            </p:cNvCxnSpPr>
            <p:nvPr/>
          </p:nvCxnSpPr>
          <p:spPr>
            <a:xfrm>
              <a:off x="6343493" y="3222742"/>
              <a:ext cx="3017520" cy="0"/>
            </a:xfrm>
            <a:prstGeom prst="line">
              <a:avLst/>
            </a:prstGeom>
            <a:ln w="28575">
              <a:solidFill>
                <a:srgbClr val="62B5E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9C1D51F2-665A-44F9-BC71-0BE1960E54A8}"/>
                </a:ext>
              </a:extLst>
            </p:cNvPr>
            <p:cNvSpPr/>
            <p:nvPr/>
          </p:nvSpPr>
          <p:spPr>
            <a:xfrm>
              <a:off x="5916964" y="3032802"/>
              <a:ext cx="274320" cy="274320"/>
            </a:xfrm>
            <a:prstGeom prst="ellipse">
              <a:avLst/>
            </a:prstGeom>
            <a:solidFill>
              <a:srgbClr val="00A3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AA18EBBE-2C95-4ECB-82C5-56196C499DAF}"/>
                </a:ext>
              </a:extLst>
            </p:cNvPr>
            <p:cNvSpPr/>
            <p:nvPr/>
          </p:nvSpPr>
          <p:spPr>
            <a:xfrm>
              <a:off x="5916964" y="4169265"/>
              <a:ext cx="274320" cy="274320"/>
            </a:xfrm>
            <a:prstGeom prst="ellipse">
              <a:avLst/>
            </a:prstGeom>
            <a:solidFill>
              <a:srgbClr val="00A3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3</a:t>
              </a: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01305B88-CEE7-44D4-A7F2-D288816FCAF1}"/>
                </a:ext>
              </a:extLst>
            </p:cNvPr>
            <p:cNvCxnSpPr>
              <a:cxnSpLocks/>
            </p:cNvCxnSpPr>
            <p:nvPr/>
          </p:nvCxnSpPr>
          <p:spPr>
            <a:xfrm>
              <a:off x="6328144" y="1957233"/>
              <a:ext cx="2854121" cy="0"/>
            </a:xfrm>
            <a:prstGeom prst="line">
              <a:avLst/>
            </a:prstGeom>
            <a:ln w="28575">
              <a:solidFill>
                <a:srgbClr val="62B5E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4CF609-9ABF-4854-972D-39A2AF1F03F4}"/>
                </a:ext>
              </a:extLst>
            </p:cNvPr>
            <p:cNvCxnSpPr>
              <a:cxnSpLocks/>
            </p:cNvCxnSpPr>
            <p:nvPr/>
          </p:nvCxnSpPr>
          <p:spPr>
            <a:xfrm>
              <a:off x="6278178" y="4382887"/>
              <a:ext cx="2996809" cy="0"/>
            </a:xfrm>
            <a:prstGeom prst="line">
              <a:avLst/>
            </a:prstGeom>
            <a:ln w="28575">
              <a:solidFill>
                <a:srgbClr val="62B5E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DF26BF90-F13C-48AF-A589-353D4C46015D}"/>
              </a:ext>
            </a:extLst>
          </p:cNvPr>
          <p:cNvSpPr txBox="1"/>
          <p:nvPr/>
        </p:nvSpPr>
        <p:spPr>
          <a:xfrm>
            <a:off x="290287" y="6588106"/>
            <a:ext cx="42549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ELOITTE CONSULTING LL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BF1883-95FE-1B40-8C2F-8226B5B47C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736" y="2732038"/>
            <a:ext cx="3347390" cy="1995802"/>
          </a:xfrm>
        </p:spPr>
        <p:txBody>
          <a:bodyPr/>
          <a:lstStyle/>
          <a:p>
            <a:r>
              <a:rPr lang="en-US" sz="2400" spc="0">
                <a:solidFill>
                  <a:prstClr val="black"/>
                </a:solidFill>
                <a:latin typeface="Open Sans Semibold"/>
                <a:ea typeface="Montserrat SemiBold" charset="0"/>
                <a:cs typeface="Montserrat SemiBold" charset="0"/>
              </a:rPr>
              <a:t>What is being done about this?</a:t>
            </a:r>
            <a:br>
              <a:rPr lang="en-US" b="0" strike="sngStrike" spc="0">
                <a:ea typeface="Montserrat SemiBold" charset="0"/>
                <a:cs typeface="Montserrat SemiBold" charset="0"/>
              </a:rPr>
            </a:br>
            <a:endParaRPr lang="en-US">
              <a:cs typeface="Calibri Ligh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591FFBB-AECD-C8E3-7D3E-54F96938872F}"/>
              </a:ext>
            </a:extLst>
          </p:cNvPr>
          <p:cNvSpPr txBox="1"/>
          <p:nvPr/>
        </p:nvSpPr>
        <p:spPr>
          <a:xfrm>
            <a:off x="5237237" y="1270000"/>
            <a:ext cx="4898571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>
                <a:cs typeface="Calibri" panose="020F0502020204030204"/>
              </a:rPr>
              <a:t>Managing health behaviors and risk factors</a:t>
            </a:r>
          </a:p>
          <a:p>
            <a:pPr marL="285750" indent="-285750">
              <a:buFont typeface="Arial"/>
              <a:buChar char="•"/>
            </a:pPr>
            <a:r>
              <a:rPr lang="en-US">
                <a:cs typeface="Calibri" panose="020F0502020204030204"/>
              </a:rPr>
              <a:t>Metrics used: blood pressure, cholesterol, body weight, etc.</a:t>
            </a:r>
            <a:endParaRPr lang="en-US" err="1">
              <a:ea typeface="Calibri"/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582491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4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457265FE-8255-4E40-86A0-BB52C7418B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50CB280-A4D7-43EE-AD2F-37A5BABF84E2}"/>
              </a:ext>
            </a:extLst>
          </p:cNvPr>
          <p:cNvSpPr/>
          <p:nvPr/>
        </p:nvSpPr>
        <p:spPr>
          <a:xfrm>
            <a:off x="603446" y="2244000"/>
            <a:ext cx="4919470" cy="96620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7432" tIns="27432" rIns="27432" bIns="27432" rtlCol="0" anchor="ctr"/>
          <a:lstStyle/>
          <a:p>
            <a:pPr algn="ctr" defTabSz="457062">
              <a:defRPr/>
            </a:pPr>
            <a:endParaRPr lang="en-US" b="1" kern="0">
              <a:solidFill>
                <a:srgbClr val="FFFFF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7A3CCD4-0452-4C43-8336-4B8B9704D140}"/>
              </a:ext>
            </a:extLst>
          </p:cNvPr>
          <p:cNvSpPr/>
          <p:nvPr/>
        </p:nvSpPr>
        <p:spPr>
          <a:xfrm>
            <a:off x="6664076" y="2244000"/>
            <a:ext cx="4919472" cy="96620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7432" tIns="27432" rIns="27432" bIns="27432" rtlCol="0" anchor="ctr"/>
          <a:lstStyle/>
          <a:p>
            <a:pPr algn="ctr" defTabSz="457062">
              <a:defRPr/>
            </a:pPr>
            <a:endParaRPr lang="en-US" b="1" kern="0">
              <a:solidFill>
                <a:srgbClr val="FFFFFF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C93321B-20D0-49CA-BF71-6D8518E29B9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7940" b="52020"/>
          <a:stretch/>
        </p:blipFill>
        <p:spPr>
          <a:xfrm>
            <a:off x="1590" y="0"/>
            <a:ext cx="12188825" cy="198905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6F43CA8-7622-442A-9D54-E79A2E15C751}"/>
              </a:ext>
            </a:extLst>
          </p:cNvPr>
          <p:cNvSpPr/>
          <p:nvPr/>
        </p:nvSpPr>
        <p:spPr>
          <a:xfrm>
            <a:off x="1589" y="0"/>
            <a:ext cx="12188826" cy="1989056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2"/>
            <a:endParaRPr lang="en-US" sz="1899">
              <a:solidFill>
                <a:srgbClr val="FCF7F7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AD92582-EB0E-493F-84F5-42312920466F}"/>
              </a:ext>
            </a:extLst>
          </p:cNvPr>
          <p:cNvSpPr txBox="1"/>
          <p:nvPr/>
        </p:nvSpPr>
        <p:spPr>
          <a:xfrm>
            <a:off x="447523" y="828595"/>
            <a:ext cx="11300132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1219170"/>
            <a:r>
              <a:rPr lang="en-US" sz="2400" b="1" cap="all" spc="200">
                <a:solidFill>
                  <a:srgbClr val="FCF7F7"/>
                </a:solidFill>
                <a:latin typeface="Open Sans Semibold"/>
                <a:ea typeface="Open Sans"/>
                <a:cs typeface="Open Sans"/>
              </a:rPr>
              <a:t>Client Motivation</a:t>
            </a:r>
          </a:p>
          <a:p>
            <a:pPr algn="ctr" defTabSz="1219170"/>
            <a:r>
              <a:rPr lang="en-US" sz="1600">
                <a:solidFill>
                  <a:srgbClr val="FCF7F7"/>
                </a:solidFill>
                <a:latin typeface="+mj-lt"/>
                <a:ea typeface="Open Sans Light"/>
                <a:cs typeface="Open Sans Light"/>
              </a:rPr>
              <a:t>A highly functional machine learning model (MLM) offers a variety of benefits to clients and their stakeholder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630D0A5-EC66-45C7-934B-6636AF5484EC}"/>
              </a:ext>
            </a:extLst>
          </p:cNvPr>
          <p:cNvGrpSpPr>
            <a:grpSpLocks noChangeAspect="1"/>
          </p:cNvGrpSpPr>
          <p:nvPr/>
        </p:nvGrpSpPr>
        <p:grpSpPr>
          <a:xfrm>
            <a:off x="5069109" y="4545995"/>
            <a:ext cx="37736" cy="0"/>
            <a:chOff x="793751" y="4518025"/>
            <a:chExt cx="44450" cy="0"/>
          </a:xfrm>
        </p:grpSpPr>
        <p:sp>
          <p:nvSpPr>
            <p:cNvPr id="13" name="Freeform 343">
              <a:extLst>
                <a:ext uri="{FF2B5EF4-FFF2-40B4-BE49-F238E27FC236}">
                  <a16:creationId xmlns:a16="http://schemas.microsoft.com/office/drawing/2014/main" id="{078153F2-60A5-470B-9856-61A24B46E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501" y="4518025"/>
              <a:ext cx="12700" cy="0"/>
            </a:xfrm>
            <a:custGeom>
              <a:avLst/>
              <a:gdLst>
                <a:gd name="T0" fmla="*/ 0 w 16"/>
                <a:gd name="T1" fmla="*/ 0 w 16"/>
                <a:gd name="T2" fmla="*/ 16 w 16"/>
                <a:gd name="T3" fmla="*/ 16 w 16"/>
                <a:gd name="T4" fmla="*/ 12 w 16"/>
                <a:gd name="T5" fmla="*/ 0 w 1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16">
                  <a:moveTo>
                    <a:pt x="0" y="0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062"/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4" name="Freeform 344">
              <a:extLst>
                <a:ext uri="{FF2B5EF4-FFF2-40B4-BE49-F238E27FC236}">
                  <a16:creationId xmlns:a16="http://schemas.microsoft.com/office/drawing/2014/main" id="{CB08C2A7-5D88-4200-A389-5B3B77327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1" y="4518025"/>
              <a:ext cx="12700" cy="0"/>
            </a:xfrm>
            <a:custGeom>
              <a:avLst/>
              <a:gdLst>
                <a:gd name="T0" fmla="*/ 0 w 16"/>
                <a:gd name="T1" fmla="*/ 0 w 16"/>
                <a:gd name="T2" fmla="*/ 16 w 16"/>
                <a:gd name="T3" fmla="*/ 16 w 16"/>
                <a:gd name="T4" fmla="*/ 4 w 16"/>
                <a:gd name="T5" fmla="*/ 0 w 1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16">
                  <a:moveTo>
                    <a:pt x="0" y="0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062"/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77290228-1D3E-4FC6-ADD2-295B78B2F861}"/>
              </a:ext>
            </a:extLst>
          </p:cNvPr>
          <p:cNvSpPr txBox="1"/>
          <p:nvPr/>
        </p:nvSpPr>
        <p:spPr>
          <a:xfrm>
            <a:off x="667855" y="2278324"/>
            <a:ext cx="4790655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1219170"/>
            <a:r>
              <a:rPr lang="en-US" sz="1600" b="1" cap="all" spc="200">
                <a:solidFill>
                  <a:schemeClr val="accent3"/>
                </a:solidFill>
                <a:ea typeface="Open Sans" charset="0"/>
                <a:cs typeface="Open Sans" charset="0"/>
              </a:rPr>
              <a:t>Healthcare Institutions</a:t>
            </a:r>
          </a:p>
          <a:p>
            <a:pPr algn="ctr" defTabSz="1219170"/>
            <a:r>
              <a:rPr lang="en-US" sz="1600">
                <a:solidFill>
                  <a:srgbClr val="201F1F"/>
                </a:solidFill>
                <a:ea typeface="Open Sans Light" charset="0"/>
                <a:cs typeface="Open Sans Light" charset="0"/>
              </a:rPr>
              <a:t>Hospitals, Urgent Care Centers, Virtual Doctor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F2F71F9-0119-4A55-83EA-55369B8A5CD3}"/>
              </a:ext>
            </a:extLst>
          </p:cNvPr>
          <p:cNvCxnSpPr>
            <a:cxnSpLocks/>
          </p:cNvCxnSpPr>
          <p:nvPr/>
        </p:nvCxnSpPr>
        <p:spPr>
          <a:xfrm>
            <a:off x="6096000" y="2278323"/>
            <a:ext cx="0" cy="388253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8844D1FD-3487-4D67-A6A4-6D919C354A6C}"/>
              </a:ext>
            </a:extLst>
          </p:cNvPr>
          <p:cNvSpPr txBox="1"/>
          <p:nvPr/>
        </p:nvSpPr>
        <p:spPr>
          <a:xfrm>
            <a:off x="6728084" y="2278324"/>
            <a:ext cx="4791456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1219170"/>
            <a:r>
              <a:rPr lang="en-US" sz="1600" b="1" cap="all" spc="200">
                <a:solidFill>
                  <a:schemeClr val="accent3"/>
                </a:solidFill>
                <a:ea typeface="Open Sans" charset="0"/>
                <a:cs typeface="Open Sans" charset="0"/>
              </a:rPr>
              <a:t>Insurance Companies</a:t>
            </a:r>
          </a:p>
          <a:p>
            <a:pPr algn="ctr" defTabSz="1219170"/>
            <a:r>
              <a:rPr lang="en-US" sz="1600">
                <a:solidFill>
                  <a:srgbClr val="201F1F"/>
                </a:solidFill>
                <a:ea typeface="Open Sans Light" charset="0"/>
                <a:cs typeface="Open Sans Light" charset="0"/>
              </a:rPr>
              <a:t>Life Insurance, Health Insurance, Private Insuran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CBA09A4-8C0C-6B24-3CBB-F327A3303C60}"/>
              </a:ext>
            </a:extLst>
          </p:cNvPr>
          <p:cNvSpPr txBox="1"/>
          <p:nvPr/>
        </p:nvSpPr>
        <p:spPr>
          <a:xfrm>
            <a:off x="3149946" y="3573421"/>
            <a:ext cx="2562213" cy="92858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1219170">
              <a:lnSpc>
                <a:spcPct val="110000"/>
              </a:lnSpc>
              <a:spcBef>
                <a:spcPts val="1000"/>
              </a:spcBef>
            </a:pPr>
            <a:r>
              <a:rPr lang="en-US" sz="1400" b="1" cap="all" spc="200">
                <a:solidFill>
                  <a:srgbClr val="201F1F"/>
                </a:solidFill>
                <a:ea typeface="Open Sans" charset="0"/>
                <a:cs typeface="Open Sans" charset="0"/>
              </a:rPr>
              <a:t>Patient Trust:</a:t>
            </a:r>
          </a:p>
          <a:p>
            <a:pPr algn="ctr" defTabSz="1219170">
              <a:lnSpc>
                <a:spcPct val="110000"/>
              </a:lnSpc>
            </a:pPr>
            <a:r>
              <a:rPr lang="en-US" sz="1200">
                <a:solidFill>
                  <a:srgbClr val="201F1F"/>
                </a:solidFill>
                <a:ea typeface="Open Sans Light" charset="0"/>
                <a:cs typeface="Open Sans Light" charset="0"/>
              </a:rPr>
              <a:t>Offering </a:t>
            </a:r>
            <a:r>
              <a:rPr lang="en-US" sz="1200" b="1">
                <a:solidFill>
                  <a:schemeClr val="bg1">
                    <a:lumMod val="65000"/>
                  </a:schemeClr>
                </a:solidFill>
                <a:ea typeface="Open Sans Light" charset="0"/>
                <a:cs typeface="Open Sans Light" charset="0"/>
              </a:rPr>
              <a:t>multiple “opinions</a:t>
            </a:r>
            <a:r>
              <a:rPr lang="en-US" sz="1200">
                <a:solidFill>
                  <a:schemeClr val="bg1">
                    <a:lumMod val="65000"/>
                  </a:schemeClr>
                </a:solidFill>
                <a:ea typeface="Open Sans Light" charset="0"/>
                <a:cs typeface="Open Sans Light" charset="0"/>
              </a:rPr>
              <a:t>” </a:t>
            </a:r>
            <a:r>
              <a:rPr lang="en-US" sz="1200">
                <a:solidFill>
                  <a:srgbClr val="201F1F"/>
                </a:solidFill>
                <a:ea typeface="Open Sans Light" charset="0"/>
                <a:cs typeface="Open Sans Light" charset="0"/>
              </a:rPr>
              <a:t>on client's health allows them to have greater trust in the outcom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4D88AB-793D-950D-6DC4-93990841CF97}"/>
              </a:ext>
            </a:extLst>
          </p:cNvPr>
          <p:cNvSpPr txBox="1"/>
          <p:nvPr/>
        </p:nvSpPr>
        <p:spPr>
          <a:xfrm>
            <a:off x="1713754" y="4715492"/>
            <a:ext cx="2736270" cy="11317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1219170">
              <a:lnSpc>
                <a:spcPct val="110000"/>
              </a:lnSpc>
              <a:spcBef>
                <a:spcPts val="1000"/>
              </a:spcBef>
            </a:pPr>
            <a:r>
              <a:rPr lang="en-US" sz="1400" b="1" cap="all" spc="200">
                <a:solidFill>
                  <a:srgbClr val="201F1F"/>
                </a:solidFill>
                <a:ea typeface="Open Sans" charset="0"/>
                <a:cs typeface="Open Sans" charset="0"/>
              </a:rPr>
              <a:t>Improved Outcomes:</a:t>
            </a:r>
          </a:p>
          <a:p>
            <a:pPr algn="ctr" defTabSz="1219170">
              <a:lnSpc>
                <a:spcPct val="110000"/>
              </a:lnSpc>
            </a:pPr>
            <a:r>
              <a:rPr lang="en-US" sz="1200" b="1">
                <a:solidFill>
                  <a:schemeClr val="bg1">
                    <a:lumMod val="65000"/>
                  </a:schemeClr>
                </a:solidFill>
                <a:ea typeface="Open Sans Light" charset="0"/>
                <a:cs typeface="Open Sans Light" charset="0"/>
              </a:rPr>
              <a:t>Early detection </a:t>
            </a:r>
            <a:r>
              <a:rPr lang="en-US" sz="1200">
                <a:solidFill>
                  <a:srgbClr val="201F1F"/>
                </a:solidFill>
                <a:ea typeface="Open Sans Light" charset="0"/>
                <a:cs typeface="Open Sans Light" charset="0"/>
              </a:rPr>
              <a:t>of heart disease allows clients to get treatment quicker. </a:t>
            </a:r>
            <a:r>
              <a:rPr lang="en-US" sz="1200" b="1">
                <a:solidFill>
                  <a:schemeClr val="bg1">
                    <a:lumMod val="65000"/>
                  </a:schemeClr>
                </a:solidFill>
                <a:ea typeface="Open Sans Light" charset="0"/>
                <a:cs typeface="Open Sans Light" charset="0"/>
              </a:rPr>
              <a:t>Identifying at risk individuals </a:t>
            </a:r>
            <a:r>
              <a:rPr lang="en-US" sz="1200">
                <a:solidFill>
                  <a:srgbClr val="201F1F"/>
                </a:solidFill>
                <a:ea typeface="Open Sans Light" charset="0"/>
                <a:cs typeface="Open Sans Light" charset="0"/>
              </a:rPr>
              <a:t>can be given health sugges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7D97A1A-2A49-266F-67B2-B07096919BC9}"/>
              </a:ext>
            </a:extLst>
          </p:cNvPr>
          <p:cNvSpPr txBox="1"/>
          <p:nvPr/>
        </p:nvSpPr>
        <p:spPr>
          <a:xfrm>
            <a:off x="243434" y="3573421"/>
            <a:ext cx="2736270" cy="92858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1219170">
              <a:lnSpc>
                <a:spcPct val="110000"/>
              </a:lnSpc>
              <a:spcBef>
                <a:spcPts val="1000"/>
              </a:spcBef>
            </a:pPr>
            <a:r>
              <a:rPr lang="en-US" sz="1400" b="1" cap="all" spc="200">
                <a:solidFill>
                  <a:srgbClr val="201F1F"/>
                </a:solidFill>
                <a:ea typeface="Open Sans" charset="0"/>
                <a:cs typeface="Open Sans" charset="0"/>
              </a:rPr>
              <a:t>Efficient Screening:</a:t>
            </a:r>
          </a:p>
          <a:p>
            <a:pPr algn="ctr" defTabSz="1219170">
              <a:lnSpc>
                <a:spcPct val="110000"/>
              </a:lnSpc>
            </a:pPr>
            <a:r>
              <a:rPr lang="en-US" sz="1200">
                <a:solidFill>
                  <a:srgbClr val="201F1F"/>
                </a:solidFill>
                <a:ea typeface="Open Sans Light" charset="0"/>
                <a:cs typeface="Open Sans Light" charset="0"/>
              </a:rPr>
              <a:t>MLM’s can </a:t>
            </a:r>
            <a:r>
              <a:rPr lang="en-US" sz="1200" b="1">
                <a:solidFill>
                  <a:schemeClr val="bg1">
                    <a:lumMod val="65000"/>
                  </a:schemeClr>
                </a:solidFill>
                <a:ea typeface="Open Sans Light" charset="0"/>
                <a:cs typeface="Open Sans Light" charset="0"/>
              </a:rPr>
              <a:t>quickly assess</a:t>
            </a:r>
            <a:r>
              <a:rPr lang="en-US" sz="1200">
                <a:solidFill>
                  <a:srgbClr val="201F1F"/>
                </a:solidFill>
                <a:ea typeface="Open Sans Light" charset="0"/>
                <a:cs typeface="Open Sans Light" charset="0"/>
              </a:rPr>
              <a:t> a client’s health and risk of heart disease without the need of an appointment </a:t>
            </a:r>
            <a:endParaRPr lang="en-US" sz="1200">
              <a:solidFill>
                <a:schemeClr val="accent3"/>
              </a:solidFill>
              <a:ea typeface="Open Sans Light" charset="0"/>
              <a:cs typeface="Open Sans Light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348BCC8-FB24-5877-272C-20B4D6197654}"/>
              </a:ext>
            </a:extLst>
          </p:cNvPr>
          <p:cNvGrpSpPr>
            <a:grpSpLocks noChangeAspect="1"/>
          </p:cNvGrpSpPr>
          <p:nvPr/>
        </p:nvGrpSpPr>
        <p:grpSpPr>
          <a:xfrm>
            <a:off x="11146059" y="4545995"/>
            <a:ext cx="37736" cy="0"/>
            <a:chOff x="793751" y="4518025"/>
            <a:chExt cx="44450" cy="0"/>
          </a:xfrm>
        </p:grpSpPr>
        <p:sp>
          <p:nvSpPr>
            <p:cNvPr id="16" name="Freeform 343">
              <a:extLst>
                <a:ext uri="{FF2B5EF4-FFF2-40B4-BE49-F238E27FC236}">
                  <a16:creationId xmlns:a16="http://schemas.microsoft.com/office/drawing/2014/main" id="{65D9C5D2-D7ED-7487-8C53-4C440B0E9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501" y="4518025"/>
              <a:ext cx="12700" cy="0"/>
            </a:xfrm>
            <a:custGeom>
              <a:avLst/>
              <a:gdLst>
                <a:gd name="T0" fmla="*/ 0 w 16"/>
                <a:gd name="T1" fmla="*/ 0 w 16"/>
                <a:gd name="T2" fmla="*/ 16 w 16"/>
                <a:gd name="T3" fmla="*/ 16 w 16"/>
                <a:gd name="T4" fmla="*/ 12 w 16"/>
                <a:gd name="T5" fmla="*/ 0 w 1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16">
                  <a:moveTo>
                    <a:pt x="0" y="0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062"/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7" name="Freeform 344">
              <a:extLst>
                <a:ext uri="{FF2B5EF4-FFF2-40B4-BE49-F238E27FC236}">
                  <a16:creationId xmlns:a16="http://schemas.microsoft.com/office/drawing/2014/main" id="{2D9F18E9-16C9-9B87-7BB0-F24DC3706B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1" y="4518025"/>
              <a:ext cx="12700" cy="0"/>
            </a:xfrm>
            <a:custGeom>
              <a:avLst/>
              <a:gdLst>
                <a:gd name="T0" fmla="*/ 0 w 16"/>
                <a:gd name="T1" fmla="*/ 0 w 16"/>
                <a:gd name="T2" fmla="*/ 16 w 16"/>
                <a:gd name="T3" fmla="*/ 16 w 16"/>
                <a:gd name="T4" fmla="*/ 4 w 16"/>
                <a:gd name="T5" fmla="*/ 0 w 1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16">
                  <a:moveTo>
                    <a:pt x="0" y="0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062"/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3ED0DD05-1665-3A9C-786F-25A0F69EF67E}"/>
              </a:ext>
            </a:extLst>
          </p:cNvPr>
          <p:cNvSpPr txBox="1"/>
          <p:nvPr/>
        </p:nvSpPr>
        <p:spPr>
          <a:xfrm>
            <a:off x="9226896" y="3573421"/>
            <a:ext cx="2562213" cy="72545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1219170">
              <a:lnSpc>
                <a:spcPct val="110000"/>
              </a:lnSpc>
              <a:spcBef>
                <a:spcPts val="1000"/>
              </a:spcBef>
            </a:pPr>
            <a:r>
              <a:rPr lang="en-US" sz="1400" b="1" cap="all" spc="200">
                <a:solidFill>
                  <a:srgbClr val="201F1F"/>
                </a:solidFill>
                <a:ea typeface="Open Sans"/>
                <a:cs typeface="Open Sans"/>
              </a:rPr>
              <a:t>Risk Assessment:</a:t>
            </a:r>
          </a:p>
          <a:p>
            <a:pPr algn="ctr" defTabSz="1219170">
              <a:lnSpc>
                <a:spcPct val="110000"/>
              </a:lnSpc>
            </a:pPr>
            <a:r>
              <a:rPr lang="en-US" sz="1200">
                <a:solidFill>
                  <a:srgbClr val="201F1F"/>
                </a:solidFill>
                <a:ea typeface="Open Sans Light"/>
                <a:cs typeface="Open Sans Light"/>
              </a:rPr>
              <a:t>Using this model to assess the</a:t>
            </a:r>
            <a:r>
              <a:rPr lang="en-US" sz="1200">
                <a:solidFill>
                  <a:schemeClr val="bg1">
                    <a:lumMod val="65000"/>
                  </a:schemeClr>
                </a:solidFill>
                <a:ea typeface="Open Sans Light"/>
                <a:cs typeface="Open Sans Light"/>
              </a:rPr>
              <a:t> </a:t>
            </a:r>
            <a:r>
              <a:rPr lang="en-US" sz="1200" b="1">
                <a:solidFill>
                  <a:schemeClr val="bg1">
                    <a:lumMod val="65000"/>
                  </a:schemeClr>
                </a:solidFill>
                <a:ea typeface="Open Sans Light"/>
                <a:cs typeface="Open Sans Light"/>
              </a:rPr>
              <a:t>risk profile</a:t>
            </a:r>
            <a:r>
              <a:rPr lang="en-US" sz="1200" b="1">
                <a:solidFill>
                  <a:srgbClr val="201F1F"/>
                </a:solidFill>
                <a:ea typeface="Open Sans Light"/>
                <a:cs typeface="Open Sans Light"/>
              </a:rPr>
              <a:t> </a:t>
            </a:r>
            <a:r>
              <a:rPr lang="en-US" sz="1200">
                <a:solidFill>
                  <a:srgbClr val="201F1F"/>
                </a:solidFill>
                <a:ea typeface="Open Sans Light"/>
                <a:cs typeface="Open Sans Light"/>
              </a:rPr>
              <a:t>of their client bas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5C4CF1B-2063-65D4-BA87-5C3687C59142}"/>
              </a:ext>
            </a:extLst>
          </p:cNvPr>
          <p:cNvSpPr txBox="1"/>
          <p:nvPr/>
        </p:nvSpPr>
        <p:spPr>
          <a:xfrm>
            <a:off x="7790704" y="4715492"/>
            <a:ext cx="2736270" cy="72545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1219170">
              <a:lnSpc>
                <a:spcPct val="110000"/>
              </a:lnSpc>
              <a:spcBef>
                <a:spcPts val="1000"/>
              </a:spcBef>
            </a:pPr>
            <a:r>
              <a:rPr lang="en-US" sz="1400" b="1" cap="all" spc="200">
                <a:solidFill>
                  <a:srgbClr val="201F1F"/>
                </a:solidFill>
                <a:ea typeface="Open Sans"/>
                <a:cs typeface="Open Sans"/>
              </a:rPr>
              <a:t>Improved Outcomes:</a:t>
            </a:r>
          </a:p>
          <a:p>
            <a:pPr algn="ctr" defTabSz="1219170">
              <a:lnSpc>
                <a:spcPct val="110000"/>
              </a:lnSpc>
            </a:pPr>
            <a:r>
              <a:rPr lang="en-US" sz="1200" b="1">
                <a:solidFill>
                  <a:schemeClr val="bg1">
                    <a:lumMod val="65000"/>
                  </a:schemeClr>
                </a:solidFill>
                <a:ea typeface="Open Sans Light"/>
                <a:cs typeface="Open Sans Light"/>
              </a:rPr>
              <a:t>Data driven insights </a:t>
            </a:r>
            <a:r>
              <a:rPr lang="en-US" sz="1200">
                <a:ea typeface="Open Sans Light"/>
                <a:cs typeface="Open Sans Light"/>
              </a:rPr>
              <a:t>allow for insurance companies to better manage their risk</a:t>
            </a:r>
            <a:endParaRPr lang="en-US" sz="1200">
              <a:solidFill>
                <a:srgbClr val="201F1F"/>
              </a:solidFill>
              <a:ea typeface="Open Sans Light" charset="0"/>
              <a:cs typeface="Open Sans Light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59025CB-4A74-F399-E6B8-468FEC6A0C40}"/>
              </a:ext>
            </a:extLst>
          </p:cNvPr>
          <p:cNvSpPr txBox="1"/>
          <p:nvPr/>
        </p:nvSpPr>
        <p:spPr>
          <a:xfrm>
            <a:off x="6320384" y="3573421"/>
            <a:ext cx="2736270" cy="9285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1219170">
              <a:lnSpc>
                <a:spcPct val="110000"/>
              </a:lnSpc>
              <a:spcBef>
                <a:spcPts val="1000"/>
              </a:spcBef>
            </a:pPr>
            <a:r>
              <a:rPr lang="en-US" sz="1400" b="1" cap="all" spc="200">
                <a:solidFill>
                  <a:srgbClr val="201F1F"/>
                </a:solidFill>
                <a:ea typeface="Open Sans"/>
                <a:cs typeface="Open Sans"/>
              </a:rPr>
              <a:t>Premium Pricing:</a:t>
            </a:r>
          </a:p>
          <a:p>
            <a:pPr algn="ctr" defTabSz="1219170">
              <a:lnSpc>
                <a:spcPct val="110000"/>
              </a:lnSpc>
            </a:pPr>
            <a:r>
              <a:rPr lang="en-US" sz="1200">
                <a:solidFill>
                  <a:srgbClr val="201F1F"/>
                </a:solidFill>
                <a:ea typeface="Open Sans Light"/>
                <a:cs typeface="Open Sans Light"/>
              </a:rPr>
              <a:t>Identifying client profiles that are at risk of heart disease allows for</a:t>
            </a:r>
            <a:r>
              <a:rPr lang="en-US" sz="1200" b="1">
                <a:solidFill>
                  <a:schemeClr val="bg1">
                    <a:lumMod val="75000"/>
                  </a:schemeClr>
                </a:solidFill>
                <a:ea typeface="Open Sans Light"/>
                <a:cs typeface="Open Sans Light"/>
              </a:rPr>
              <a:t> </a:t>
            </a:r>
            <a:r>
              <a:rPr lang="en-US" sz="1200" b="1">
                <a:solidFill>
                  <a:schemeClr val="bg1">
                    <a:lumMod val="65000"/>
                  </a:schemeClr>
                </a:solidFill>
                <a:ea typeface="Open Sans Light"/>
                <a:cs typeface="Open Sans Light"/>
              </a:rPr>
              <a:t>premium adjustments</a:t>
            </a:r>
            <a:r>
              <a:rPr lang="en-US" sz="1200" b="1">
                <a:solidFill>
                  <a:schemeClr val="bg1">
                    <a:lumMod val="75000"/>
                  </a:schemeClr>
                </a:solidFill>
                <a:ea typeface="Open Sans Light"/>
                <a:cs typeface="Open Sans Light"/>
              </a:rPr>
              <a:t> </a:t>
            </a:r>
            <a:endParaRPr lang="en-US" sz="1200" b="1">
              <a:solidFill>
                <a:schemeClr val="bg1">
                  <a:lumMod val="75000"/>
                </a:schemeClr>
              </a:solidFill>
              <a:ea typeface="Open Sans Light" charset="0"/>
              <a:cs typeface="Open Sans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3960545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3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50CB280-A4D7-43EE-AD2F-37A5BABF84E2}"/>
              </a:ext>
            </a:extLst>
          </p:cNvPr>
          <p:cNvSpPr/>
          <p:nvPr/>
        </p:nvSpPr>
        <p:spPr>
          <a:xfrm>
            <a:off x="5587676" y="1806787"/>
            <a:ext cx="4919470" cy="96620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7432" tIns="27432" rIns="27432" bIns="27432" rtlCol="0" anchor="ctr"/>
          <a:lstStyle/>
          <a:p>
            <a:pPr algn="ctr" defTabSz="457062">
              <a:defRPr/>
            </a:pPr>
            <a:endParaRPr lang="en-US" b="1" kern="0">
              <a:solidFill>
                <a:srgbClr val="FFFFFF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C93321B-20D0-49CA-BF71-6D8518E29B9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7940" b="52020"/>
          <a:stretch/>
        </p:blipFill>
        <p:spPr>
          <a:xfrm rot="16200000">
            <a:off x="-1391247" y="1392835"/>
            <a:ext cx="6879810" cy="408767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6F43CA8-7622-442A-9D54-E79A2E15C751}"/>
              </a:ext>
            </a:extLst>
          </p:cNvPr>
          <p:cNvSpPr/>
          <p:nvPr/>
        </p:nvSpPr>
        <p:spPr>
          <a:xfrm>
            <a:off x="-10902" y="-12491"/>
            <a:ext cx="4094136" cy="6873350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2"/>
            <a:endParaRPr lang="en-US" sz="1899">
              <a:solidFill>
                <a:srgbClr val="FCF7F7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AD92582-EB0E-493F-84F5-42312920466F}"/>
              </a:ext>
            </a:extLst>
          </p:cNvPr>
          <p:cNvSpPr txBox="1"/>
          <p:nvPr/>
        </p:nvSpPr>
        <p:spPr>
          <a:xfrm>
            <a:off x="35293" y="2702365"/>
            <a:ext cx="4029903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1219170"/>
            <a:r>
              <a:rPr lang="en-US" sz="2400" b="1" cap="all" spc="200">
                <a:solidFill>
                  <a:srgbClr val="FCF7F7"/>
                </a:solidFill>
                <a:latin typeface="Open Sans Semibold"/>
                <a:ea typeface="Open Sans"/>
                <a:cs typeface="Open Sans"/>
              </a:rPr>
              <a:t>Client Motivation</a:t>
            </a:r>
          </a:p>
          <a:p>
            <a:pPr algn="ctr" defTabSz="1219170"/>
            <a:r>
              <a:rPr lang="en-US" sz="1600">
                <a:solidFill>
                  <a:srgbClr val="FCF7F7"/>
                </a:solidFill>
                <a:latin typeface="+mj-lt"/>
                <a:ea typeface="Open Sans Light"/>
                <a:cs typeface="Open Sans Light"/>
              </a:rPr>
              <a:t>A highly functional machine learning model (MLM) offers a variety of benefits to clients and their stakeholder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630D0A5-EC66-45C7-934B-6636AF5484EC}"/>
              </a:ext>
            </a:extLst>
          </p:cNvPr>
          <p:cNvGrpSpPr>
            <a:grpSpLocks noChangeAspect="1"/>
          </p:cNvGrpSpPr>
          <p:nvPr/>
        </p:nvGrpSpPr>
        <p:grpSpPr>
          <a:xfrm>
            <a:off x="11165109" y="4670913"/>
            <a:ext cx="37736" cy="0"/>
            <a:chOff x="793751" y="4518025"/>
            <a:chExt cx="44450" cy="0"/>
          </a:xfrm>
        </p:grpSpPr>
        <p:sp>
          <p:nvSpPr>
            <p:cNvPr id="13" name="Freeform 343">
              <a:extLst>
                <a:ext uri="{FF2B5EF4-FFF2-40B4-BE49-F238E27FC236}">
                  <a16:creationId xmlns:a16="http://schemas.microsoft.com/office/drawing/2014/main" id="{078153F2-60A5-470B-9856-61A24B46E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501" y="4518025"/>
              <a:ext cx="12700" cy="0"/>
            </a:xfrm>
            <a:custGeom>
              <a:avLst/>
              <a:gdLst>
                <a:gd name="T0" fmla="*/ 0 w 16"/>
                <a:gd name="T1" fmla="*/ 0 w 16"/>
                <a:gd name="T2" fmla="*/ 16 w 16"/>
                <a:gd name="T3" fmla="*/ 16 w 16"/>
                <a:gd name="T4" fmla="*/ 12 w 16"/>
                <a:gd name="T5" fmla="*/ 0 w 1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16">
                  <a:moveTo>
                    <a:pt x="0" y="0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062"/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4" name="Freeform 344">
              <a:extLst>
                <a:ext uri="{FF2B5EF4-FFF2-40B4-BE49-F238E27FC236}">
                  <a16:creationId xmlns:a16="http://schemas.microsoft.com/office/drawing/2014/main" id="{CB08C2A7-5D88-4200-A389-5B3B77327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1" y="4518025"/>
              <a:ext cx="12700" cy="0"/>
            </a:xfrm>
            <a:custGeom>
              <a:avLst/>
              <a:gdLst>
                <a:gd name="T0" fmla="*/ 0 w 16"/>
                <a:gd name="T1" fmla="*/ 0 w 16"/>
                <a:gd name="T2" fmla="*/ 16 w 16"/>
                <a:gd name="T3" fmla="*/ 16 w 16"/>
                <a:gd name="T4" fmla="*/ 4 w 16"/>
                <a:gd name="T5" fmla="*/ 0 w 1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16">
                  <a:moveTo>
                    <a:pt x="0" y="0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062"/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77290228-1D3E-4FC6-ADD2-295B78B2F861}"/>
              </a:ext>
            </a:extLst>
          </p:cNvPr>
          <p:cNvSpPr txBox="1"/>
          <p:nvPr/>
        </p:nvSpPr>
        <p:spPr>
          <a:xfrm>
            <a:off x="5652085" y="1841111"/>
            <a:ext cx="4790655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1219170"/>
            <a:r>
              <a:rPr lang="en-US" sz="1600" b="1" cap="all" spc="200">
                <a:solidFill>
                  <a:schemeClr val="accent3"/>
                </a:solidFill>
                <a:ea typeface="Open Sans" charset="0"/>
                <a:cs typeface="Open Sans" charset="0"/>
              </a:rPr>
              <a:t>Healthcare Institutions</a:t>
            </a:r>
          </a:p>
          <a:p>
            <a:pPr algn="ctr" defTabSz="1219170"/>
            <a:r>
              <a:rPr lang="en-US" sz="1600">
                <a:solidFill>
                  <a:srgbClr val="201F1F"/>
                </a:solidFill>
                <a:ea typeface="Open Sans Light" charset="0"/>
                <a:cs typeface="Open Sans Light" charset="0"/>
              </a:rPr>
              <a:t>Hospitals, Urgent Care Centers, Virtual Doctor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CBA09A4-8C0C-6B24-3CBB-F327A3303C60}"/>
              </a:ext>
            </a:extLst>
          </p:cNvPr>
          <p:cNvSpPr txBox="1"/>
          <p:nvPr/>
        </p:nvSpPr>
        <p:spPr>
          <a:xfrm>
            <a:off x="8134175" y="3136208"/>
            <a:ext cx="2562213" cy="92858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1219170">
              <a:lnSpc>
                <a:spcPct val="110000"/>
              </a:lnSpc>
              <a:spcBef>
                <a:spcPts val="1000"/>
              </a:spcBef>
            </a:pPr>
            <a:r>
              <a:rPr lang="en-US" sz="1400" b="1" cap="all" spc="200">
                <a:solidFill>
                  <a:srgbClr val="201F1F"/>
                </a:solidFill>
                <a:ea typeface="Open Sans" charset="0"/>
                <a:cs typeface="Open Sans" charset="0"/>
              </a:rPr>
              <a:t>Patient Trust:</a:t>
            </a:r>
          </a:p>
          <a:p>
            <a:pPr algn="ctr" defTabSz="1219170">
              <a:lnSpc>
                <a:spcPct val="110000"/>
              </a:lnSpc>
            </a:pPr>
            <a:r>
              <a:rPr lang="en-US" sz="1200">
                <a:solidFill>
                  <a:srgbClr val="201F1F"/>
                </a:solidFill>
                <a:ea typeface="Open Sans Light" charset="0"/>
                <a:cs typeface="Open Sans Light" charset="0"/>
              </a:rPr>
              <a:t>Offering </a:t>
            </a:r>
            <a:r>
              <a:rPr lang="en-US" sz="1200" b="1">
                <a:solidFill>
                  <a:schemeClr val="bg1">
                    <a:lumMod val="65000"/>
                  </a:schemeClr>
                </a:solidFill>
                <a:ea typeface="Open Sans Light" charset="0"/>
                <a:cs typeface="Open Sans Light" charset="0"/>
              </a:rPr>
              <a:t>multiple “opinions</a:t>
            </a:r>
            <a:r>
              <a:rPr lang="en-US" sz="1200">
                <a:solidFill>
                  <a:schemeClr val="bg1">
                    <a:lumMod val="65000"/>
                  </a:schemeClr>
                </a:solidFill>
                <a:ea typeface="Open Sans Light" charset="0"/>
                <a:cs typeface="Open Sans Light" charset="0"/>
              </a:rPr>
              <a:t>” </a:t>
            </a:r>
            <a:r>
              <a:rPr lang="en-US" sz="1200">
                <a:solidFill>
                  <a:srgbClr val="201F1F"/>
                </a:solidFill>
                <a:ea typeface="Open Sans Light" charset="0"/>
                <a:cs typeface="Open Sans Light" charset="0"/>
              </a:rPr>
              <a:t>on client's health allows them to have greater trust in the outcom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4D88AB-793D-950D-6DC4-93990841CF97}"/>
              </a:ext>
            </a:extLst>
          </p:cNvPr>
          <p:cNvSpPr txBox="1"/>
          <p:nvPr/>
        </p:nvSpPr>
        <p:spPr>
          <a:xfrm>
            <a:off x="6697983" y="4278279"/>
            <a:ext cx="2736270" cy="11317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1219170">
              <a:lnSpc>
                <a:spcPct val="110000"/>
              </a:lnSpc>
              <a:spcBef>
                <a:spcPts val="1000"/>
              </a:spcBef>
            </a:pPr>
            <a:r>
              <a:rPr lang="en-US" sz="1400" b="1" cap="all" spc="200">
                <a:solidFill>
                  <a:srgbClr val="201F1F"/>
                </a:solidFill>
                <a:ea typeface="Open Sans" charset="0"/>
                <a:cs typeface="Open Sans" charset="0"/>
              </a:rPr>
              <a:t>Improved Outcomes:</a:t>
            </a:r>
          </a:p>
          <a:p>
            <a:pPr algn="ctr" defTabSz="1219170">
              <a:lnSpc>
                <a:spcPct val="110000"/>
              </a:lnSpc>
            </a:pPr>
            <a:r>
              <a:rPr lang="en-US" sz="1200" b="1">
                <a:solidFill>
                  <a:schemeClr val="bg1">
                    <a:lumMod val="65000"/>
                  </a:schemeClr>
                </a:solidFill>
                <a:ea typeface="Open Sans Light" charset="0"/>
                <a:cs typeface="Open Sans Light" charset="0"/>
              </a:rPr>
              <a:t>Early detection </a:t>
            </a:r>
            <a:r>
              <a:rPr lang="en-US" sz="1200">
                <a:solidFill>
                  <a:srgbClr val="201F1F"/>
                </a:solidFill>
                <a:ea typeface="Open Sans Light" charset="0"/>
                <a:cs typeface="Open Sans Light" charset="0"/>
              </a:rPr>
              <a:t>of heart disease allows clients to get treatment quicker. </a:t>
            </a:r>
            <a:r>
              <a:rPr lang="en-US" sz="1200" b="1">
                <a:solidFill>
                  <a:schemeClr val="bg1">
                    <a:lumMod val="65000"/>
                  </a:schemeClr>
                </a:solidFill>
                <a:ea typeface="Open Sans Light" charset="0"/>
                <a:cs typeface="Open Sans Light" charset="0"/>
              </a:rPr>
              <a:t>Identifying at risk individuals </a:t>
            </a:r>
            <a:r>
              <a:rPr lang="en-US" sz="1200">
                <a:solidFill>
                  <a:srgbClr val="201F1F"/>
                </a:solidFill>
                <a:ea typeface="Open Sans Light" charset="0"/>
                <a:cs typeface="Open Sans Light" charset="0"/>
              </a:rPr>
              <a:t>can be given health sugges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7D97A1A-2A49-266F-67B2-B07096919BC9}"/>
              </a:ext>
            </a:extLst>
          </p:cNvPr>
          <p:cNvSpPr txBox="1"/>
          <p:nvPr/>
        </p:nvSpPr>
        <p:spPr>
          <a:xfrm>
            <a:off x="5227664" y="3136208"/>
            <a:ext cx="2736270" cy="92858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1219170">
              <a:lnSpc>
                <a:spcPct val="110000"/>
              </a:lnSpc>
              <a:spcBef>
                <a:spcPts val="1000"/>
              </a:spcBef>
            </a:pPr>
            <a:r>
              <a:rPr lang="en-US" sz="1400" b="1" cap="all" spc="200">
                <a:solidFill>
                  <a:srgbClr val="201F1F"/>
                </a:solidFill>
                <a:ea typeface="Open Sans" charset="0"/>
                <a:cs typeface="Open Sans" charset="0"/>
              </a:rPr>
              <a:t>Efficient Screening:</a:t>
            </a:r>
          </a:p>
          <a:p>
            <a:pPr algn="ctr" defTabSz="1219170">
              <a:lnSpc>
                <a:spcPct val="110000"/>
              </a:lnSpc>
            </a:pPr>
            <a:r>
              <a:rPr lang="en-US" sz="1200">
                <a:solidFill>
                  <a:srgbClr val="201F1F"/>
                </a:solidFill>
                <a:ea typeface="Open Sans Light" charset="0"/>
                <a:cs typeface="Open Sans Light" charset="0"/>
              </a:rPr>
              <a:t>MLM’s can </a:t>
            </a:r>
            <a:r>
              <a:rPr lang="en-US" sz="1200" b="1">
                <a:solidFill>
                  <a:schemeClr val="bg1">
                    <a:lumMod val="65000"/>
                  </a:schemeClr>
                </a:solidFill>
                <a:ea typeface="Open Sans Light" charset="0"/>
                <a:cs typeface="Open Sans Light" charset="0"/>
              </a:rPr>
              <a:t>quickly assess</a:t>
            </a:r>
            <a:r>
              <a:rPr lang="en-US" sz="1200">
                <a:solidFill>
                  <a:srgbClr val="201F1F"/>
                </a:solidFill>
                <a:ea typeface="Open Sans Light" charset="0"/>
                <a:cs typeface="Open Sans Light" charset="0"/>
              </a:rPr>
              <a:t> a client’s health and risk of heart disease without the need of an appointment </a:t>
            </a:r>
            <a:endParaRPr lang="en-US" sz="1200">
              <a:solidFill>
                <a:schemeClr val="accent3"/>
              </a:solidFill>
              <a:ea typeface="Open Sans Light" charset="0"/>
              <a:cs typeface="Open Sans Light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348BCC8-FB24-5877-272C-20B4D6197654}"/>
              </a:ext>
            </a:extLst>
          </p:cNvPr>
          <p:cNvGrpSpPr>
            <a:grpSpLocks noChangeAspect="1"/>
          </p:cNvGrpSpPr>
          <p:nvPr/>
        </p:nvGrpSpPr>
        <p:grpSpPr>
          <a:xfrm>
            <a:off x="11146059" y="4545995"/>
            <a:ext cx="37736" cy="0"/>
            <a:chOff x="793751" y="4518025"/>
            <a:chExt cx="44450" cy="0"/>
          </a:xfrm>
        </p:grpSpPr>
        <p:sp>
          <p:nvSpPr>
            <p:cNvPr id="16" name="Freeform 343">
              <a:extLst>
                <a:ext uri="{FF2B5EF4-FFF2-40B4-BE49-F238E27FC236}">
                  <a16:creationId xmlns:a16="http://schemas.microsoft.com/office/drawing/2014/main" id="{65D9C5D2-D7ED-7487-8C53-4C440B0E9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501" y="4518025"/>
              <a:ext cx="12700" cy="0"/>
            </a:xfrm>
            <a:custGeom>
              <a:avLst/>
              <a:gdLst>
                <a:gd name="T0" fmla="*/ 0 w 16"/>
                <a:gd name="T1" fmla="*/ 0 w 16"/>
                <a:gd name="T2" fmla="*/ 16 w 16"/>
                <a:gd name="T3" fmla="*/ 16 w 16"/>
                <a:gd name="T4" fmla="*/ 12 w 16"/>
                <a:gd name="T5" fmla="*/ 0 w 1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16">
                  <a:moveTo>
                    <a:pt x="0" y="0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062"/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7" name="Freeform 344">
              <a:extLst>
                <a:ext uri="{FF2B5EF4-FFF2-40B4-BE49-F238E27FC236}">
                  <a16:creationId xmlns:a16="http://schemas.microsoft.com/office/drawing/2014/main" id="{2D9F18E9-16C9-9B87-7BB0-F24DC3706B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1" y="4518025"/>
              <a:ext cx="12700" cy="0"/>
            </a:xfrm>
            <a:custGeom>
              <a:avLst/>
              <a:gdLst>
                <a:gd name="T0" fmla="*/ 0 w 16"/>
                <a:gd name="T1" fmla="*/ 0 w 16"/>
                <a:gd name="T2" fmla="*/ 16 w 16"/>
                <a:gd name="T3" fmla="*/ 16 w 16"/>
                <a:gd name="T4" fmla="*/ 4 w 16"/>
                <a:gd name="T5" fmla="*/ 0 w 1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16">
                  <a:moveTo>
                    <a:pt x="0" y="0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062"/>
              <a:endParaRPr lang="en-US" sz="16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7109124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3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7A3CCD4-0452-4C43-8336-4B8B9704D140}"/>
              </a:ext>
            </a:extLst>
          </p:cNvPr>
          <p:cNvSpPr/>
          <p:nvPr/>
        </p:nvSpPr>
        <p:spPr>
          <a:xfrm>
            <a:off x="5600151" y="1841435"/>
            <a:ext cx="4919472" cy="96620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7432" tIns="27432" rIns="27432" bIns="27432" rtlCol="0" anchor="ctr"/>
          <a:lstStyle/>
          <a:p>
            <a:pPr algn="ctr" defTabSz="457062">
              <a:defRPr/>
            </a:pPr>
            <a:endParaRPr lang="en-US" b="1" kern="0">
              <a:solidFill>
                <a:srgbClr val="FFFFFF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844D1FD-3487-4D67-A6A4-6D919C354A6C}"/>
              </a:ext>
            </a:extLst>
          </p:cNvPr>
          <p:cNvSpPr txBox="1"/>
          <p:nvPr/>
        </p:nvSpPr>
        <p:spPr>
          <a:xfrm>
            <a:off x="5664159" y="1875758"/>
            <a:ext cx="4791456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1219170"/>
            <a:r>
              <a:rPr lang="en-US" sz="1600" b="1" cap="all" spc="200">
                <a:solidFill>
                  <a:schemeClr val="accent3"/>
                </a:solidFill>
                <a:ea typeface="Open Sans" charset="0"/>
                <a:cs typeface="Open Sans" charset="0"/>
              </a:rPr>
              <a:t>Insurance Companies</a:t>
            </a:r>
          </a:p>
          <a:p>
            <a:pPr algn="ctr" defTabSz="1219170"/>
            <a:r>
              <a:rPr lang="en-US" sz="1600">
                <a:solidFill>
                  <a:srgbClr val="201F1F"/>
                </a:solidFill>
                <a:ea typeface="Open Sans Light" charset="0"/>
                <a:cs typeface="Open Sans Light" charset="0"/>
              </a:rPr>
              <a:t>Life Insurance, Health Insurance, Private Insuranc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348BCC8-FB24-5877-272C-20B4D6197654}"/>
              </a:ext>
            </a:extLst>
          </p:cNvPr>
          <p:cNvGrpSpPr>
            <a:grpSpLocks noChangeAspect="1"/>
          </p:cNvGrpSpPr>
          <p:nvPr/>
        </p:nvGrpSpPr>
        <p:grpSpPr>
          <a:xfrm>
            <a:off x="10082134" y="4143429"/>
            <a:ext cx="37736" cy="0"/>
            <a:chOff x="793751" y="4518025"/>
            <a:chExt cx="44450" cy="0"/>
          </a:xfrm>
        </p:grpSpPr>
        <p:sp>
          <p:nvSpPr>
            <p:cNvPr id="16" name="Freeform 343">
              <a:extLst>
                <a:ext uri="{FF2B5EF4-FFF2-40B4-BE49-F238E27FC236}">
                  <a16:creationId xmlns:a16="http://schemas.microsoft.com/office/drawing/2014/main" id="{65D9C5D2-D7ED-7487-8C53-4C440B0E9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501" y="4518025"/>
              <a:ext cx="12700" cy="0"/>
            </a:xfrm>
            <a:custGeom>
              <a:avLst/>
              <a:gdLst>
                <a:gd name="T0" fmla="*/ 0 w 16"/>
                <a:gd name="T1" fmla="*/ 0 w 16"/>
                <a:gd name="T2" fmla="*/ 16 w 16"/>
                <a:gd name="T3" fmla="*/ 16 w 16"/>
                <a:gd name="T4" fmla="*/ 12 w 16"/>
                <a:gd name="T5" fmla="*/ 0 w 1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16">
                  <a:moveTo>
                    <a:pt x="0" y="0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062"/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7" name="Freeform 344">
              <a:extLst>
                <a:ext uri="{FF2B5EF4-FFF2-40B4-BE49-F238E27FC236}">
                  <a16:creationId xmlns:a16="http://schemas.microsoft.com/office/drawing/2014/main" id="{2D9F18E9-16C9-9B87-7BB0-F24DC3706B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1" y="4518025"/>
              <a:ext cx="12700" cy="0"/>
            </a:xfrm>
            <a:custGeom>
              <a:avLst/>
              <a:gdLst>
                <a:gd name="T0" fmla="*/ 0 w 16"/>
                <a:gd name="T1" fmla="*/ 0 w 16"/>
                <a:gd name="T2" fmla="*/ 16 w 16"/>
                <a:gd name="T3" fmla="*/ 16 w 16"/>
                <a:gd name="T4" fmla="*/ 4 w 16"/>
                <a:gd name="T5" fmla="*/ 0 w 1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16">
                  <a:moveTo>
                    <a:pt x="0" y="0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062"/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3ED0DD05-1665-3A9C-786F-25A0F69EF67E}"/>
              </a:ext>
            </a:extLst>
          </p:cNvPr>
          <p:cNvSpPr txBox="1"/>
          <p:nvPr/>
        </p:nvSpPr>
        <p:spPr>
          <a:xfrm>
            <a:off x="8162972" y="3170856"/>
            <a:ext cx="2562213" cy="72545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1219170">
              <a:lnSpc>
                <a:spcPct val="110000"/>
              </a:lnSpc>
              <a:spcBef>
                <a:spcPts val="1000"/>
              </a:spcBef>
            </a:pPr>
            <a:r>
              <a:rPr lang="en-US" sz="1400" b="1" cap="all" spc="200">
                <a:solidFill>
                  <a:srgbClr val="201F1F"/>
                </a:solidFill>
                <a:ea typeface="Open Sans"/>
                <a:cs typeface="Open Sans"/>
              </a:rPr>
              <a:t>Risk Assessment:</a:t>
            </a:r>
          </a:p>
          <a:p>
            <a:pPr algn="ctr" defTabSz="1219170">
              <a:lnSpc>
                <a:spcPct val="110000"/>
              </a:lnSpc>
            </a:pPr>
            <a:r>
              <a:rPr lang="en-US" sz="1200">
                <a:solidFill>
                  <a:srgbClr val="201F1F"/>
                </a:solidFill>
                <a:ea typeface="Open Sans Light"/>
                <a:cs typeface="Open Sans Light"/>
              </a:rPr>
              <a:t>Using this model to assess the</a:t>
            </a:r>
            <a:r>
              <a:rPr lang="en-US" sz="1200">
                <a:solidFill>
                  <a:schemeClr val="bg1">
                    <a:lumMod val="65000"/>
                  </a:schemeClr>
                </a:solidFill>
                <a:ea typeface="Open Sans Light"/>
                <a:cs typeface="Open Sans Light"/>
              </a:rPr>
              <a:t> </a:t>
            </a:r>
            <a:r>
              <a:rPr lang="en-US" sz="1200" b="1">
                <a:solidFill>
                  <a:schemeClr val="bg1">
                    <a:lumMod val="65000"/>
                  </a:schemeClr>
                </a:solidFill>
                <a:ea typeface="Open Sans Light"/>
                <a:cs typeface="Open Sans Light"/>
              </a:rPr>
              <a:t>risk profile</a:t>
            </a:r>
            <a:r>
              <a:rPr lang="en-US" sz="1200" b="1">
                <a:solidFill>
                  <a:srgbClr val="201F1F"/>
                </a:solidFill>
                <a:ea typeface="Open Sans Light"/>
                <a:cs typeface="Open Sans Light"/>
              </a:rPr>
              <a:t> </a:t>
            </a:r>
            <a:r>
              <a:rPr lang="en-US" sz="1200">
                <a:solidFill>
                  <a:srgbClr val="201F1F"/>
                </a:solidFill>
                <a:ea typeface="Open Sans Light"/>
                <a:cs typeface="Open Sans Light"/>
              </a:rPr>
              <a:t>of their client bas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5C4CF1B-2063-65D4-BA87-5C3687C59142}"/>
              </a:ext>
            </a:extLst>
          </p:cNvPr>
          <p:cNvSpPr txBox="1"/>
          <p:nvPr/>
        </p:nvSpPr>
        <p:spPr>
          <a:xfrm>
            <a:off x="6726779" y="4312926"/>
            <a:ext cx="2736270" cy="72545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1219170">
              <a:lnSpc>
                <a:spcPct val="110000"/>
              </a:lnSpc>
              <a:spcBef>
                <a:spcPts val="1000"/>
              </a:spcBef>
            </a:pPr>
            <a:r>
              <a:rPr lang="en-US" sz="1400" b="1" cap="all" spc="200">
                <a:solidFill>
                  <a:srgbClr val="201F1F"/>
                </a:solidFill>
                <a:ea typeface="Open Sans"/>
                <a:cs typeface="Open Sans"/>
              </a:rPr>
              <a:t>Improved Outcomes:</a:t>
            </a:r>
          </a:p>
          <a:p>
            <a:pPr algn="ctr" defTabSz="1219170">
              <a:lnSpc>
                <a:spcPct val="110000"/>
              </a:lnSpc>
            </a:pPr>
            <a:r>
              <a:rPr lang="en-US" sz="1200" b="1">
                <a:solidFill>
                  <a:schemeClr val="bg1">
                    <a:lumMod val="65000"/>
                  </a:schemeClr>
                </a:solidFill>
                <a:ea typeface="Open Sans Light"/>
                <a:cs typeface="Open Sans Light"/>
              </a:rPr>
              <a:t>Data driven insights </a:t>
            </a:r>
            <a:r>
              <a:rPr lang="en-US" sz="1200">
                <a:ea typeface="Open Sans Light"/>
                <a:cs typeface="Open Sans Light"/>
              </a:rPr>
              <a:t>allow for insurance companies to better manage their risk</a:t>
            </a:r>
            <a:endParaRPr lang="en-US" sz="1200">
              <a:solidFill>
                <a:srgbClr val="201F1F"/>
              </a:solidFill>
              <a:ea typeface="Open Sans Light" charset="0"/>
              <a:cs typeface="Open Sans Light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59025CB-4A74-F399-E6B8-468FEC6A0C40}"/>
              </a:ext>
            </a:extLst>
          </p:cNvPr>
          <p:cNvSpPr txBox="1"/>
          <p:nvPr/>
        </p:nvSpPr>
        <p:spPr>
          <a:xfrm>
            <a:off x="5256460" y="3170856"/>
            <a:ext cx="2736270" cy="9285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1219170">
              <a:lnSpc>
                <a:spcPct val="110000"/>
              </a:lnSpc>
              <a:spcBef>
                <a:spcPts val="1000"/>
              </a:spcBef>
            </a:pPr>
            <a:r>
              <a:rPr lang="en-US" sz="1400" b="1" cap="all" spc="200">
                <a:solidFill>
                  <a:srgbClr val="201F1F"/>
                </a:solidFill>
                <a:ea typeface="Open Sans"/>
                <a:cs typeface="Open Sans"/>
              </a:rPr>
              <a:t>Premium Pricing:</a:t>
            </a:r>
          </a:p>
          <a:p>
            <a:pPr algn="ctr" defTabSz="1219170">
              <a:lnSpc>
                <a:spcPct val="110000"/>
              </a:lnSpc>
            </a:pPr>
            <a:r>
              <a:rPr lang="en-US" sz="1200">
                <a:solidFill>
                  <a:srgbClr val="201F1F"/>
                </a:solidFill>
                <a:ea typeface="Open Sans Light"/>
                <a:cs typeface="Open Sans Light"/>
              </a:rPr>
              <a:t>Identifying client profiles that are at risk of heart disease allows for</a:t>
            </a:r>
            <a:r>
              <a:rPr lang="en-US" sz="1200" b="1">
                <a:solidFill>
                  <a:schemeClr val="bg1">
                    <a:lumMod val="75000"/>
                  </a:schemeClr>
                </a:solidFill>
                <a:ea typeface="Open Sans Light"/>
                <a:cs typeface="Open Sans Light"/>
              </a:rPr>
              <a:t> </a:t>
            </a:r>
            <a:r>
              <a:rPr lang="en-US" sz="1200" b="1">
                <a:solidFill>
                  <a:schemeClr val="bg1">
                    <a:lumMod val="65000"/>
                  </a:schemeClr>
                </a:solidFill>
                <a:ea typeface="Open Sans Light"/>
                <a:cs typeface="Open Sans Light"/>
              </a:rPr>
              <a:t>premium adjustments</a:t>
            </a:r>
            <a:r>
              <a:rPr lang="en-US" sz="1200" b="1">
                <a:solidFill>
                  <a:schemeClr val="bg1">
                    <a:lumMod val="75000"/>
                  </a:schemeClr>
                </a:solidFill>
                <a:ea typeface="Open Sans Light"/>
                <a:cs typeface="Open Sans Light"/>
              </a:rPr>
              <a:t> </a:t>
            </a:r>
            <a:endParaRPr lang="en-US" sz="1200" b="1">
              <a:solidFill>
                <a:schemeClr val="bg1">
                  <a:lumMod val="75000"/>
                </a:schemeClr>
              </a:solidFill>
              <a:ea typeface="Open Sans Light" charset="0"/>
              <a:cs typeface="Open Sans Light" charset="0"/>
            </a:endParaRPr>
          </a:p>
        </p:txBody>
      </p:sp>
      <p:pic>
        <p:nvPicPr>
          <p:cNvPr id="19" name="Picture 18" descr="A black background with white dots&#10;&#10;Description automatically generated">
            <a:extLst>
              <a:ext uri="{FF2B5EF4-FFF2-40B4-BE49-F238E27FC236}">
                <a16:creationId xmlns:a16="http://schemas.microsoft.com/office/drawing/2014/main" id="{0F27DF15-F9E6-6180-2BF8-C8768EC806C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7940" b="52020"/>
          <a:stretch/>
        </p:blipFill>
        <p:spPr>
          <a:xfrm rot="16200000">
            <a:off x="-1391247" y="1392835"/>
            <a:ext cx="6879810" cy="408767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A3E544DD-2DE5-5894-0A60-D09AF11923D3}"/>
              </a:ext>
            </a:extLst>
          </p:cNvPr>
          <p:cNvSpPr/>
          <p:nvPr/>
        </p:nvSpPr>
        <p:spPr>
          <a:xfrm>
            <a:off x="-10902" y="-12491"/>
            <a:ext cx="4094136" cy="6873350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2"/>
            <a:endParaRPr lang="en-US" sz="1899">
              <a:solidFill>
                <a:srgbClr val="FCF7F7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0EDA8C-B310-B320-8499-4CC435220454}"/>
              </a:ext>
            </a:extLst>
          </p:cNvPr>
          <p:cNvSpPr txBox="1"/>
          <p:nvPr/>
        </p:nvSpPr>
        <p:spPr>
          <a:xfrm>
            <a:off x="35293" y="2702365"/>
            <a:ext cx="4029903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1219170"/>
            <a:r>
              <a:rPr lang="en-US" sz="2400" b="1" cap="all" spc="200">
                <a:solidFill>
                  <a:srgbClr val="FCF7F7"/>
                </a:solidFill>
                <a:latin typeface="Open Sans Semibold"/>
                <a:ea typeface="Open Sans"/>
                <a:cs typeface="Open Sans"/>
              </a:rPr>
              <a:t>Client Motivation</a:t>
            </a:r>
          </a:p>
          <a:p>
            <a:pPr algn="ctr" defTabSz="1219170"/>
            <a:r>
              <a:rPr lang="en-US" sz="1600">
                <a:solidFill>
                  <a:srgbClr val="FCF7F7"/>
                </a:solidFill>
                <a:latin typeface="+mj-lt"/>
                <a:ea typeface="Open Sans Light"/>
                <a:cs typeface="Open Sans Light"/>
              </a:rPr>
              <a:t>A highly functional machine learning model (MLM) offers a variety of benefits to clients and their stakeholders</a:t>
            </a:r>
          </a:p>
        </p:txBody>
      </p:sp>
    </p:spTree>
    <p:extLst>
      <p:ext uri="{BB962C8B-B14F-4D97-AF65-F5344CB8AC3E}">
        <p14:creationId xmlns:p14="http://schemas.microsoft.com/office/powerpoint/2010/main" val="927052965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lowchart: Document 24">
            <a:extLst>
              <a:ext uri="{FF2B5EF4-FFF2-40B4-BE49-F238E27FC236}">
                <a16:creationId xmlns:a16="http://schemas.microsoft.com/office/drawing/2014/main" id="{D12DDE76-C203-4047-9998-63900085B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8175" y="0"/>
            <a:ext cx="3248025" cy="3400426"/>
          </a:xfrm>
          <a:prstGeom prst="flowChartDocument">
            <a:avLst/>
          </a:prstGeom>
          <a:solidFill>
            <a:srgbClr val="4950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1">
            <a:extLst>
              <a:ext uri="{FF2B5EF4-FFF2-40B4-BE49-F238E27FC236}">
                <a16:creationId xmlns:a16="http://schemas.microsoft.com/office/drawing/2014/main" id="{02998329-293A-1918-2D05-53B36B9BA2D1}"/>
              </a:ext>
            </a:extLst>
          </p:cNvPr>
          <p:cNvSpPr txBox="1">
            <a:spLocks/>
          </p:cNvSpPr>
          <p:nvPr/>
        </p:nvSpPr>
        <p:spPr>
          <a:xfrm>
            <a:off x="848096" y="171162"/>
            <a:ext cx="2840182" cy="2371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2400" kern="1200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</a:rPr>
              <a:t>Modeling process</a:t>
            </a:r>
          </a:p>
        </p:txBody>
      </p:sp>
      <p:pic>
        <p:nvPicPr>
          <p:cNvPr id="7" name="Picture 6" descr="CRISP-DM still a leader in data mining models | Stellar Consulting">
            <a:extLst>
              <a:ext uri="{FF2B5EF4-FFF2-40B4-BE49-F238E27FC236}">
                <a16:creationId xmlns:a16="http://schemas.microsoft.com/office/drawing/2014/main" id="{4E845F0F-A991-649C-3593-3C64E2085A4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202" t="558" r="511" b="862"/>
          <a:stretch/>
        </p:blipFill>
        <p:spPr>
          <a:xfrm>
            <a:off x="4661301" y="640080"/>
            <a:ext cx="6440800" cy="5578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138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75B08DFC-9741-4869-8AB7-DB340A72AE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75B08DFC-9741-4869-8AB7-DB340A72A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1822B948-CF83-4C9A-B9B5-CADB9383931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/>
              <a:sym typeface="Chronicle Display Black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9C6C3C-DC16-46FA-9E48-A7B015DA9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972" y="162753"/>
            <a:ext cx="10363200" cy="594360"/>
          </a:xfrm>
        </p:spPr>
        <p:txBody>
          <a:bodyPr/>
          <a:lstStyle/>
          <a:p>
            <a:r>
              <a:rPr lang="en-US" sz="2400">
                <a:latin typeface="Open Sans Semibold"/>
                <a:ea typeface="Open Sans Semibold"/>
                <a:cs typeface="Open Sans Semibold"/>
              </a:rPr>
              <a:t>Data Understanding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E0694A2-99FD-449C-A2F5-10591191BEC9}"/>
              </a:ext>
            </a:extLst>
          </p:cNvPr>
          <p:cNvCxnSpPr/>
          <p:nvPr/>
        </p:nvCxnSpPr>
        <p:spPr>
          <a:xfrm flipH="1">
            <a:off x="5820648" y="5184471"/>
            <a:ext cx="786384" cy="0"/>
          </a:xfrm>
          <a:prstGeom prst="line">
            <a:avLst/>
          </a:prstGeom>
          <a:ln w="12700">
            <a:solidFill>
              <a:schemeClr val="accent5">
                <a:lumMod val="20000"/>
                <a:lumOff val="8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13">
            <a:extLst>
              <a:ext uri="{FF2B5EF4-FFF2-40B4-BE49-F238E27FC236}">
                <a16:creationId xmlns:a16="http://schemas.microsoft.com/office/drawing/2014/main" id="{647B59C5-E2B2-4169-9C8A-BDF8D4EEF78D}"/>
              </a:ext>
            </a:extLst>
          </p:cNvPr>
          <p:cNvSpPr>
            <a:spLocks/>
          </p:cNvSpPr>
          <p:nvPr/>
        </p:nvSpPr>
        <p:spPr>
          <a:xfrm>
            <a:off x="5011461" y="2438004"/>
            <a:ext cx="1591055" cy="1991470"/>
          </a:xfrm>
          <a:custGeom>
            <a:avLst/>
            <a:gdLst>
              <a:gd name="connsiteX0" fmla="*/ 0 w 1591056"/>
              <a:gd name="connsiteY0" fmla="*/ 1581912 h 1581912"/>
              <a:gd name="connsiteX1" fmla="*/ 1161288 w 1591056"/>
              <a:gd name="connsiteY1" fmla="*/ 0 h 1581912"/>
              <a:gd name="connsiteX2" fmla="*/ 1591056 w 1591056"/>
              <a:gd name="connsiteY2" fmla="*/ 0 h 1581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1056" h="1581912">
                <a:moveTo>
                  <a:pt x="0" y="1581912"/>
                </a:moveTo>
                <a:lnTo>
                  <a:pt x="1161288" y="0"/>
                </a:lnTo>
                <a:lnTo>
                  <a:pt x="1591056" y="0"/>
                </a:lnTo>
              </a:path>
            </a:pathLst>
          </a:custGeom>
          <a:noFill/>
          <a:ln w="28575">
            <a:solidFill>
              <a:schemeClr val="accent3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8" name="Freeform 14">
            <a:extLst>
              <a:ext uri="{FF2B5EF4-FFF2-40B4-BE49-F238E27FC236}">
                <a16:creationId xmlns:a16="http://schemas.microsoft.com/office/drawing/2014/main" id="{1F594C0B-7673-4529-94CF-534ED0E6E62A}"/>
              </a:ext>
            </a:extLst>
          </p:cNvPr>
          <p:cNvSpPr/>
          <p:nvPr/>
        </p:nvSpPr>
        <p:spPr>
          <a:xfrm>
            <a:off x="5011460" y="3349428"/>
            <a:ext cx="1597231" cy="1072445"/>
          </a:xfrm>
          <a:custGeom>
            <a:avLst/>
            <a:gdLst>
              <a:gd name="connsiteX0" fmla="*/ 0 w 1597231"/>
              <a:gd name="connsiteY0" fmla="*/ 670956 h 670956"/>
              <a:gd name="connsiteX1" fmla="*/ 1163781 w 1597231"/>
              <a:gd name="connsiteY1" fmla="*/ 0 h 670956"/>
              <a:gd name="connsiteX2" fmla="*/ 1597231 w 1597231"/>
              <a:gd name="connsiteY2" fmla="*/ 0 h 67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7231" h="670956">
                <a:moveTo>
                  <a:pt x="0" y="670956"/>
                </a:moveTo>
                <a:lnTo>
                  <a:pt x="1163781" y="0"/>
                </a:lnTo>
                <a:lnTo>
                  <a:pt x="1597231" y="0"/>
                </a:lnTo>
              </a:path>
            </a:pathLst>
          </a:custGeom>
          <a:noFill/>
          <a:ln w="28575">
            <a:solidFill>
              <a:schemeClr val="accent2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9" name="Freeform 16">
            <a:extLst>
              <a:ext uri="{FF2B5EF4-FFF2-40B4-BE49-F238E27FC236}">
                <a16:creationId xmlns:a16="http://schemas.microsoft.com/office/drawing/2014/main" id="{BD1848F0-432B-47AA-913D-1900831C01BE}"/>
              </a:ext>
            </a:extLst>
          </p:cNvPr>
          <p:cNvSpPr>
            <a:spLocks/>
          </p:cNvSpPr>
          <p:nvPr/>
        </p:nvSpPr>
        <p:spPr>
          <a:xfrm>
            <a:off x="5017397" y="4423757"/>
            <a:ext cx="1585356" cy="773612"/>
          </a:xfrm>
          <a:custGeom>
            <a:avLst/>
            <a:gdLst>
              <a:gd name="connsiteX0" fmla="*/ 0 w 1585356"/>
              <a:gd name="connsiteY0" fmla="*/ 0 h 249382"/>
              <a:gd name="connsiteX1" fmla="*/ 1157844 w 1585356"/>
              <a:gd name="connsiteY1" fmla="*/ 249382 h 249382"/>
              <a:gd name="connsiteX2" fmla="*/ 1585356 w 1585356"/>
              <a:gd name="connsiteY2" fmla="*/ 249382 h 249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85356" h="249382">
                <a:moveTo>
                  <a:pt x="0" y="0"/>
                </a:moveTo>
                <a:lnTo>
                  <a:pt x="1157844" y="249382"/>
                </a:lnTo>
                <a:lnTo>
                  <a:pt x="1585356" y="249382"/>
                </a:lnTo>
              </a:path>
            </a:pathLst>
          </a:custGeom>
          <a:noFill/>
          <a:ln w="28575">
            <a:solidFill>
              <a:schemeClr val="accent4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" name="Freeform 17">
            <a:extLst>
              <a:ext uri="{FF2B5EF4-FFF2-40B4-BE49-F238E27FC236}">
                <a16:creationId xmlns:a16="http://schemas.microsoft.com/office/drawing/2014/main" id="{BF4B3AB4-0DC0-45E4-A1AD-821F2BF1BCA2}"/>
              </a:ext>
            </a:extLst>
          </p:cNvPr>
          <p:cNvSpPr/>
          <p:nvPr/>
        </p:nvSpPr>
        <p:spPr>
          <a:xfrm>
            <a:off x="5017397" y="4423757"/>
            <a:ext cx="1585356" cy="1680803"/>
          </a:xfrm>
          <a:custGeom>
            <a:avLst/>
            <a:gdLst>
              <a:gd name="connsiteX0" fmla="*/ 0 w 1591293"/>
              <a:gd name="connsiteY0" fmla="*/ 0 h 1151907"/>
              <a:gd name="connsiteX1" fmla="*/ 1169719 w 1591293"/>
              <a:gd name="connsiteY1" fmla="*/ 1151907 h 1151907"/>
              <a:gd name="connsiteX2" fmla="*/ 1591293 w 1591293"/>
              <a:gd name="connsiteY2" fmla="*/ 1151907 h 1151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1293" h="1151907">
                <a:moveTo>
                  <a:pt x="0" y="0"/>
                </a:moveTo>
                <a:lnTo>
                  <a:pt x="1169719" y="1151907"/>
                </a:lnTo>
                <a:lnTo>
                  <a:pt x="1591293" y="1151907"/>
                </a:lnTo>
              </a:path>
            </a:pathLst>
          </a:custGeom>
          <a:noFill/>
          <a:ln w="28575">
            <a:solidFill>
              <a:schemeClr val="accent6">
                <a:lumMod val="40000"/>
                <a:lumOff val="60000"/>
              </a:schemeClr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2710C6B-0669-4866-A4BA-7FA500598F1F}"/>
              </a:ext>
            </a:extLst>
          </p:cNvPr>
          <p:cNvCxnSpPr>
            <a:cxnSpLocks/>
          </p:cNvCxnSpPr>
          <p:nvPr/>
        </p:nvCxnSpPr>
        <p:spPr>
          <a:xfrm flipV="1">
            <a:off x="4807670" y="4420583"/>
            <a:ext cx="220448" cy="129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eform 20">
            <a:extLst>
              <a:ext uri="{FF2B5EF4-FFF2-40B4-BE49-F238E27FC236}">
                <a16:creationId xmlns:a16="http://schemas.microsoft.com/office/drawing/2014/main" id="{6AD33F43-B326-400C-978C-DB68C4BF7A86}"/>
              </a:ext>
            </a:extLst>
          </p:cNvPr>
          <p:cNvSpPr/>
          <p:nvPr/>
        </p:nvSpPr>
        <p:spPr>
          <a:xfrm flipV="1">
            <a:off x="5017397" y="4260851"/>
            <a:ext cx="1585356" cy="150570"/>
          </a:xfrm>
          <a:custGeom>
            <a:avLst/>
            <a:gdLst>
              <a:gd name="connsiteX0" fmla="*/ 0 w 1585356"/>
              <a:gd name="connsiteY0" fmla="*/ 0 h 249382"/>
              <a:gd name="connsiteX1" fmla="*/ 1157844 w 1585356"/>
              <a:gd name="connsiteY1" fmla="*/ 249382 h 249382"/>
              <a:gd name="connsiteX2" fmla="*/ 1585356 w 1585356"/>
              <a:gd name="connsiteY2" fmla="*/ 249382 h 249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85356" h="249382">
                <a:moveTo>
                  <a:pt x="0" y="0"/>
                </a:moveTo>
                <a:lnTo>
                  <a:pt x="1157844" y="249382"/>
                </a:lnTo>
                <a:lnTo>
                  <a:pt x="1585356" y="249382"/>
                </a:lnTo>
              </a:path>
            </a:pathLst>
          </a:custGeom>
          <a:noFill/>
          <a:ln w="28575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B7FE008-80CC-4C7E-AEF9-954469314749}"/>
              </a:ext>
            </a:extLst>
          </p:cNvPr>
          <p:cNvSpPr txBox="1"/>
          <p:nvPr/>
        </p:nvSpPr>
        <p:spPr>
          <a:xfrm>
            <a:off x="982109" y="2987693"/>
            <a:ext cx="3822763" cy="261610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lvl="1" indent="-285750">
              <a:spcBef>
                <a:spcPts val="60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Ø"/>
              <a:defRPr/>
            </a:pPr>
            <a:r>
              <a:rPr lang="en-US" sz="1600" b="1">
                <a:solidFill>
                  <a:srgbClr val="000000"/>
                </a:solidFill>
                <a:latin typeface="Open Sans"/>
                <a:ea typeface="Verdana"/>
                <a:cs typeface="Verdana" panose="020B0604030504040204" pitchFamily="34" charset="0"/>
              </a:rPr>
              <a:t>Needing to select reliable and accurate information for each patient</a:t>
            </a:r>
            <a:endParaRPr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lvl="1" indent="-285750">
              <a:spcBef>
                <a:spcPts val="60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Ø"/>
              <a:defRPr/>
            </a:pPr>
            <a:r>
              <a:rPr lang="en-US" sz="1600">
                <a:solidFill>
                  <a:srgbClr val="000000"/>
                </a:solidFill>
                <a:latin typeface="Open Sans"/>
                <a:ea typeface="Verdana"/>
                <a:cs typeface="Verdana" panose="020B0604030504040204" pitchFamily="34" charset="0"/>
              </a:rPr>
              <a:t>There are several key factors that can indicate a higher risk of developing heart disease</a:t>
            </a:r>
          </a:p>
          <a:p>
            <a:pPr marL="285750" lvl="1" indent="-285750">
              <a:spcBef>
                <a:spcPts val="60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Ø"/>
              <a:defRPr/>
            </a:pPr>
            <a:r>
              <a:rPr lang="en-US" sz="1600">
                <a:solidFill>
                  <a:srgbClr val="000000"/>
                </a:solidFill>
                <a:latin typeface="Open Sans"/>
                <a:ea typeface="Verdana"/>
                <a:cs typeface="Verdana" panose="020B0604030504040204" pitchFamily="34" charset="0"/>
              </a:rPr>
              <a:t>Model should be able to adapt to adding new health factors when improving in the future</a:t>
            </a:r>
            <a:endParaRPr lang="en-US" sz="1600">
              <a:solidFill>
                <a:srgbClr val="000000"/>
              </a:solidFill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C034B0A-B22E-459D-B19D-F9C4EC2FDC05}"/>
              </a:ext>
            </a:extLst>
          </p:cNvPr>
          <p:cNvSpPr/>
          <p:nvPr/>
        </p:nvSpPr>
        <p:spPr>
          <a:xfrm>
            <a:off x="1178363" y="1678339"/>
            <a:ext cx="1354858" cy="400110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2000" b="1">
                <a:solidFill>
                  <a:srgbClr val="000000"/>
                </a:solidFill>
                <a:latin typeface="Open Sans"/>
                <a:ea typeface="Verdana"/>
                <a:cs typeface="Verdana" panose="020B0604030504040204" pitchFamily="34" charset="0"/>
              </a:rPr>
              <a:t>Situation</a:t>
            </a:r>
            <a:endParaRPr lang="en-US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736BB3F-7FAB-42BC-B819-EDE8A23CCB52}"/>
              </a:ext>
            </a:extLst>
          </p:cNvPr>
          <p:cNvSpPr/>
          <p:nvPr/>
        </p:nvSpPr>
        <p:spPr>
          <a:xfrm>
            <a:off x="6836511" y="1668814"/>
            <a:ext cx="1657505" cy="400110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marL="0" lvl="1">
              <a:spcBef>
                <a:spcPts val="600"/>
              </a:spcBef>
              <a:spcAft>
                <a:spcPts val="600"/>
              </a:spcAft>
              <a:buSzPct val="100000"/>
              <a:defRPr/>
            </a:pPr>
            <a:r>
              <a:rPr lang="en-US" sz="2000" b="1">
                <a:solidFill>
                  <a:srgbClr val="000000"/>
                </a:solidFill>
                <a:latin typeface="Open Sans"/>
                <a:ea typeface="Verdana"/>
                <a:cs typeface="Verdana" panose="020B0604030504040204" pitchFamily="34" charset="0"/>
              </a:rPr>
              <a:t>Key Factors</a:t>
            </a:r>
            <a:endParaRPr lang="en-US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BC8E7E2-2D2C-4737-8B8D-A0A78E458C22}"/>
              </a:ext>
            </a:extLst>
          </p:cNvPr>
          <p:cNvCxnSpPr/>
          <p:nvPr/>
        </p:nvCxnSpPr>
        <p:spPr>
          <a:xfrm>
            <a:off x="1242371" y="2107171"/>
            <a:ext cx="3372170" cy="0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B0AC9D8-80BA-4FFE-9AD2-CD92A2CBC95F}"/>
              </a:ext>
            </a:extLst>
          </p:cNvPr>
          <p:cNvCxnSpPr/>
          <p:nvPr/>
        </p:nvCxnSpPr>
        <p:spPr>
          <a:xfrm>
            <a:off x="6963490" y="2097646"/>
            <a:ext cx="3372170" cy="0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7" name="Content Placeholder 2">
            <a:extLst>
              <a:ext uri="{FF2B5EF4-FFF2-40B4-BE49-F238E27FC236}">
                <a16:creationId xmlns:a16="http://schemas.microsoft.com/office/drawing/2014/main" id="{4AF1B351-CF6C-F92F-54B2-BA0A3FA6393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07185355"/>
              </p:ext>
            </p:extLst>
          </p:nvPr>
        </p:nvGraphicFramePr>
        <p:xfrm>
          <a:off x="6607629" y="2421610"/>
          <a:ext cx="5024361" cy="36827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7431837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D.8gmfS1u4uSfmEXuyA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jf8TUoT0yzjDipkino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.0Gwq6QXOfkT.Lc2br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Y0lWHjR42uRiNTmlF0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Y0lWHjR42uRiNTmlF0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Y0lWHjR42uRiNTmlF0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Y0lWHjR42uRiNTmlF0s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7</Slides>
  <Notes>13</Notes>
  <HiddenSlides>2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8" baseType="lpstr">
      <vt:lpstr>Office Theme</vt:lpstr>
      <vt:lpstr>PowerPoint Presentation</vt:lpstr>
      <vt:lpstr>Agenda</vt:lpstr>
      <vt:lpstr>Cardiovascular Disease in the USA</vt:lpstr>
      <vt:lpstr>What is being done about this? </vt:lpstr>
      <vt:lpstr>PowerPoint Presentation</vt:lpstr>
      <vt:lpstr>PowerPoint Presentation</vt:lpstr>
      <vt:lpstr>PowerPoint Presentation</vt:lpstr>
      <vt:lpstr>PowerPoint Presentation</vt:lpstr>
      <vt:lpstr>Data Understanding</vt:lpstr>
      <vt:lpstr>Data Understanding</vt:lpstr>
      <vt:lpstr>Data Understanding</vt:lpstr>
      <vt:lpstr>Data Understanding</vt:lpstr>
      <vt:lpstr>Model Selection</vt:lpstr>
      <vt:lpstr>Model Evaluation</vt:lpstr>
      <vt:lpstr>Decision Tree Feature Importance</vt:lpstr>
      <vt:lpstr>Client Recommendation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ce, Daniel I</dc:creator>
  <cp:revision>1</cp:revision>
  <dcterms:created xsi:type="dcterms:W3CDTF">2024-05-29T20:31:52Z</dcterms:created>
  <dcterms:modified xsi:type="dcterms:W3CDTF">2024-06-14T16:36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4-05-29T20:31:56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ce9f3217-0919-478b-8f70-55720faf0515</vt:lpwstr>
  </property>
  <property fmtid="{D5CDD505-2E9C-101B-9397-08002B2CF9AE}" pid="8" name="MSIP_Label_ea60d57e-af5b-4752-ac57-3e4f28ca11dc_ContentBits">
    <vt:lpwstr>0</vt:lpwstr>
  </property>
</Properties>
</file>